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63" r:id="rId5"/>
    <p:sldMasterId id="2147483671" r:id="rId6"/>
  </p:sldMasterIdLst>
  <p:notesMasterIdLst>
    <p:notesMasterId r:id="rId16"/>
  </p:notesMasterIdLst>
  <p:sldIdLst>
    <p:sldId id="7166" r:id="rId7"/>
    <p:sldId id="15890" r:id="rId8"/>
    <p:sldId id="15891" r:id="rId9"/>
    <p:sldId id="15892" r:id="rId10"/>
    <p:sldId id="7055" r:id="rId11"/>
    <p:sldId id="7136" r:id="rId12"/>
    <p:sldId id="7098" r:id="rId13"/>
    <p:sldId id="7099" r:id="rId14"/>
    <p:sldId id="7141" r:id="rId15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2E4A"/>
    <a:srgbClr val="406B9B"/>
    <a:srgbClr val="F9FB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84"/>
  </p:normalViewPr>
  <p:slideViewPr>
    <p:cSldViewPr snapToGrid="0">
      <p:cViewPr varScale="1">
        <p:scale>
          <a:sx n="61" d="100"/>
          <a:sy n="61" d="100"/>
        </p:scale>
        <p:origin x="99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5B9C29-5C94-9A4E-B037-AFEF1E8C3F5C}" type="datetimeFigureOut">
              <a:rPr lang="it-IT" smtClean="0"/>
              <a:t>15/11/2021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14DC95-45C6-224D-82F8-7CC54144D6A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101067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egnaposto immagine diapositiva 1">
            <a:extLst>
              <a:ext uri="{FF2B5EF4-FFF2-40B4-BE49-F238E27FC236}">
                <a16:creationId xmlns:a16="http://schemas.microsoft.com/office/drawing/2014/main" id="{F08D914B-D7F2-BC4F-BCAD-6D9E9A66962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Segnaposto note 2">
            <a:extLst>
              <a:ext uri="{FF2B5EF4-FFF2-40B4-BE49-F238E27FC236}">
                <a16:creationId xmlns:a16="http://schemas.microsoft.com/office/drawing/2014/main" id="{161EF903-B037-7D45-B2DA-EAD38470F77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18436" name="Segnaposto numero diapositiva 3">
            <a:extLst>
              <a:ext uri="{FF2B5EF4-FFF2-40B4-BE49-F238E27FC236}">
                <a16:creationId xmlns:a16="http://schemas.microsoft.com/office/drawing/2014/main" id="{745B465D-5651-A94A-B519-1BF89E9A1B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0C710D-FCE6-AC4B-B5AF-6C39E738B92B}" type="slidenum">
              <a: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it-IT" alt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48445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68586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egnaposto immagine diapositiva 1">
            <a:extLst>
              <a:ext uri="{FF2B5EF4-FFF2-40B4-BE49-F238E27FC236}">
                <a16:creationId xmlns:a16="http://schemas.microsoft.com/office/drawing/2014/main" id="{1EA177A6-7E5A-BE4C-AF8C-4488569F8BD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Segnaposto note 2">
            <a:extLst>
              <a:ext uri="{FF2B5EF4-FFF2-40B4-BE49-F238E27FC236}">
                <a16:creationId xmlns:a16="http://schemas.microsoft.com/office/drawing/2014/main" id="{FA08FD91-D9CB-BD47-8727-5C00F56FD35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7172" name="Segnaposto numero diapositiva 3">
            <a:extLst>
              <a:ext uri="{FF2B5EF4-FFF2-40B4-BE49-F238E27FC236}">
                <a16:creationId xmlns:a16="http://schemas.microsoft.com/office/drawing/2014/main" id="{B2B25EB2-6BB2-6142-B3B8-C471F2B8DF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17A73D9-6504-684A-993A-7CC3CFCC4415}" type="slidenum">
              <a:rPr kumimoji="0" lang="it-IT" alt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t-IT" alt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758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77894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29979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31284" y="366713"/>
            <a:ext cx="10363200" cy="40823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653" b="1">
                <a:solidFill>
                  <a:srgbClr val="003A79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531286" y="860426"/>
            <a:ext cx="8860367" cy="2923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7606904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 bi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>
            <a:extLst>
              <a:ext uri="{FF2B5EF4-FFF2-40B4-BE49-F238E27FC236}">
                <a16:creationId xmlns:a16="http://schemas.microsoft.com/office/drawing/2014/main" id="{40C28897-2836-413B-BDE8-A6C71030C7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3984" y="374653"/>
            <a:ext cx="10363200" cy="55393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653" b="1">
                <a:solidFill>
                  <a:schemeClr val="bg1"/>
                </a:solidFill>
                <a:latin typeface="Century Gothic" panose="020B0502020202020204" pitchFamily="34" charset="0"/>
                <a:cs typeface="Arial"/>
              </a:defRPr>
            </a:lvl1pPr>
          </a:lstStyle>
          <a:p>
            <a:r>
              <a:rPr lang="it-IT"/>
              <a:t>Fare clic per modificare stile</a:t>
            </a:r>
          </a:p>
        </p:txBody>
      </p:sp>
    </p:spTree>
    <p:extLst>
      <p:ext uri="{BB962C8B-B14F-4D97-AF65-F5344CB8AC3E}">
        <p14:creationId xmlns:p14="http://schemas.microsoft.com/office/powerpoint/2010/main" val="19437924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Shape 130"/>
          <p:cNvSpPr>
            <a:spLocks noGrp="1"/>
          </p:cNvSpPr>
          <p:nvPr>
            <p:ph type="title"/>
          </p:nvPr>
        </p:nvSpPr>
        <p:spPr>
          <a:xfrm>
            <a:off x="1635025" y="242359"/>
            <a:ext cx="7772401" cy="545043"/>
          </a:xfrm>
          <a:prstGeom prst="rect">
            <a:avLst/>
          </a:prstGeom>
        </p:spPr>
        <p:txBody>
          <a:bodyPr lIns="91438" tIns="91438" rIns="91438" bIns="91438" anchor="t"/>
          <a:lstStyle>
            <a:lvl1pPr algn="l" defTabSz="914299">
              <a:defRPr sz="3000" b="1">
                <a:solidFill>
                  <a:srgbClr val="0085AD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olo Testo</a:t>
            </a:r>
          </a:p>
        </p:txBody>
      </p:sp>
      <p:sp>
        <p:nvSpPr>
          <p:cNvPr id="131" name="Shape 131"/>
          <p:cNvSpPr>
            <a:spLocks noGrp="1"/>
          </p:cNvSpPr>
          <p:nvPr>
            <p:ph type="body" sz="quarter" idx="1"/>
          </p:nvPr>
        </p:nvSpPr>
        <p:spPr>
          <a:xfrm>
            <a:off x="1635126" y="787400"/>
            <a:ext cx="6645275" cy="749300"/>
          </a:xfrm>
          <a:prstGeom prst="rect">
            <a:avLst/>
          </a:prstGeom>
        </p:spPr>
        <p:txBody>
          <a:bodyPr lIns="91438" tIns="91438" rIns="91438" bIns="91438" anchor="t"/>
          <a:lstStyle>
            <a:lvl1pPr marL="0" indent="0" defTabSz="914299">
              <a:spcBef>
                <a:spcPts val="450"/>
              </a:spcBef>
              <a:buSzTx/>
              <a:buNone/>
              <a:defRPr sz="2000" b="1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indent="0" defTabSz="914299">
              <a:spcBef>
                <a:spcPts val="450"/>
              </a:spcBef>
              <a:buSzTx/>
              <a:buNone/>
              <a:defRPr sz="2000" b="1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indent="0" defTabSz="914299">
              <a:spcBef>
                <a:spcPts val="450"/>
              </a:spcBef>
              <a:buSzTx/>
              <a:buNone/>
              <a:defRPr sz="2000" b="1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indent="0" defTabSz="914299">
              <a:spcBef>
                <a:spcPts val="450"/>
              </a:spcBef>
              <a:buSzTx/>
              <a:buNone/>
              <a:defRPr sz="2000" b="1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indent="0" defTabSz="914299">
              <a:spcBef>
                <a:spcPts val="450"/>
              </a:spcBef>
              <a:buSzTx/>
              <a:buNone/>
              <a:defRPr sz="2000" b="1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pic>
        <p:nvPicPr>
          <p:cNvPr id="132" name="image2.png" descr="InnovationCenter_White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23365" y="6089652"/>
            <a:ext cx="1006476" cy="579438"/>
          </a:xfrm>
          <a:prstGeom prst="rect">
            <a:avLst/>
          </a:prstGeom>
          <a:ln w="12700">
            <a:miter lim="400000"/>
          </a:ln>
        </p:spPr>
      </p:pic>
      <p:pic>
        <p:nvPicPr>
          <p:cNvPr id="133" name="image2.png" descr="InnovationCenter_White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23365" y="6089652"/>
            <a:ext cx="1006476" cy="579438"/>
          </a:xfrm>
          <a:prstGeom prst="rect">
            <a:avLst/>
          </a:prstGeom>
          <a:ln w="12700">
            <a:miter lim="400000"/>
          </a:ln>
        </p:spPr>
      </p:pic>
      <p:pic>
        <p:nvPicPr>
          <p:cNvPr id="134" name="image3.png" descr="ISP_INNOVATION_2_WHITE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7238" y="6387281"/>
            <a:ext cx="2001838" cy="293689"/>
          </a:xfrm>
          <a:prstGeom prst="rect">
            <a:avLst/>
          </a:prstGeom>
          <a:ln w="12700">
            <a:miter lim="400000"/>
          </a:ln>
        </p:spPr>
      </p:pic>
      <p:sp>
        <p:nvSpPr>
          <p:cNvPr id="135" name="Shape 135"/>
          <p:cNvSpPr>
            <a:spLocks noGrp="1"/>
          </p:cNvSpPr>
          <p:nvPr>
            <p:ph type="sldNum" sz="quarter" idx="2"/>
          </p:nvPr>
        </p:nvSpPr>
        <p:spPr>
          <a:xfrm>
            <a:off x="10157319" y="179388"/>
            <a:ext cx="267304" cy="264254"/>
          </a:xfrm>
          <a:prstGeom prst="rect">
            <a:avLst/>
          </a:prstGeom>
        </p:spPr>
        <p:txBody>
          <a:bodyPr lIns="91438" tIns="91438" rIns="91438" bIns="91438"/>
          <a:lstStyle>
            <a:lvl1pPr defTabSz="457151">
              <a:defRPr b="1">
                <a:solidFill>
                  <a:srgbClr val="0085AD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6CB4B4D-7CA3-9044-876B-883B54F8677D}" type="slidenum">
              <a:rPr lang="it-IT" sz="1632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it-IT" sz="1632"/>
          </a:p>
        </p:txBody>
      </p:sp>
    </p:spTree>
    <p:extLst>
      <p:ext uri="{BB962C8B-B14F-4D97-AF65-F5344CB8AC3E}">
        <p14:creationId xmlns:p14="http://schemas.microsoft.com/office/powerpoint/2010/main" val="2252838041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>
            <a:extLst>
              <a:ext uri="{FF2B5EF4-FFF2-40B4-BE49-F238E27FC236}">
                <a16:creationId xmlns:a16="http://schemas.microsoft.com/office/drawing/2014/main" id="{6BF5C941-37F0-427E-84C9-28AA4547483D}"/>
              </a:ext>
            </a:extLst>
          </p:cNvPr>
          <p:cNvSpPr txBox="1">
            <a:spLocks/>
          </p:cNvSpPr>
          <p:nvPr userDrawn="1"/>
        </p:nvSpPr>
        <p:spPr>
          <a:xfrm>
            <a:off x="11281833" y="179918"/>
            <a:ext cx="552451" cy="364067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65AE9913-D569-4BB5-97A5-70D376D0B248}" type="slidenum">
              <a:rPr lang="it-IT" altLang="it-IT" sz="1334" b="1" smtClean="0">
                <a:solidFill>
                  <a:srgbClr val="003A79"/>
                </a:solidFill>
                <a:latin typeface="Century Gothic" panose="020B0502020202020204" pitchFamily="34" charset="0"/>
              </a:rPr>
              <a:pPr algn="r" eaLnBrk="1" hangingPunct="1">
                <a:defRPr/>
              </a:pPr>
              <a:t>‹N›</a:t>
            </a:fld>
            <a:endParaRPr lang="it-IT" altLang="it-IT" sz="1334" b="1">
              <a:solidFill>
                <a:srgbClr val="003A79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6328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m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07120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15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3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2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slide" Target="../slides/slide2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1296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198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396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594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793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898" indent="-34289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47" indent="-28574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95" indent="-22859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94" indent="-22859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92" indent="-22859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90" indent="-228599" algn="l" defTabSz="9143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8" indent="-228599" algn="l" defTabSz="9143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6" indent="-228599" algn="l" defTabSz="9143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85" indent="-228599" algn="l" defTabSz="9143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4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3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1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7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99807210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3A2D74A-21AA-4066-B66E-0007832EB931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45" b="1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7" y="32012"/>
            <a:ext cx="577363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it-IT" sz="1020" cap="all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it-IT" sz="1632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328294"/>
            <a:ext cx="824822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it-IT" sz="816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488454"/>
            <a:ext cx="560464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829342" indent="-829342" defTabSz="1218095">
              <a:tabLst>
                <a:tab pos="857418" algn="l"/>
              </a:tabLst>
            </a:pPr>
            <a:r>
              <a:rPr lang="it-IT" sz="816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FONTE: Fon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it-IT" sz="1632" b="1" baseline="0">
                  <a:solidFill>
                    <a:schemeClr val="tx2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Titolo</a:t>
              </a:r>
            </a:p>
            <a:p>
              <a:r>
                <a:rPr lang="it-IT" sz="1632" baseline="0">
                  <a:solidFill>
                    <a:schemeClr val="accent6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1761" y="579085"/>
            <a:ext cx="620345" cy="220474"/>
            <a:chOff x="8284805" y="285750"/>
            <a:chExt cx="455970" cy="216085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4805" y="285750"/>
              <a:ext cx="4559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rgbClr val="002960"/>
                </a:buClr>
              </a:pPr>
              <a:r>
                <a:rPr lang="it-IT" sz="1224" baseline="0">
                  <a:solidFill>
                    <a:schemeClr val="accent6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848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84805" y="501835"/>
              <a:ext cx="45597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LegendBoxes" hidden="1"/>
          <p:cNvGrpSpPr/>
          <p:nvPr userDrawn="1"/>
        </p:nvGrpSpPr>
        <p:grpSpPr bwMode="gray">
          <a:xfrm>
            <a:off x="10797028" y="285075"/>
            <a:ext cx="861625" cy="1021522"/>
            <a:chOff x="7835905" y="279400"/>
            <a:chExt cx="832138" cy="100118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0" y="285075"/>
            <a:ext cx="1561096" cy="813454"/>
            <a:chOff x="7540629" y="279400"/>
            <a:chExt cx="1147446" cy="7972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1" name="Legend3" hidden="1"/>
            <p:cNvSpPr>
              <a:spLocks noChangeArrowheads="1"/>
            </p:cNvSpPr>
            <p:nvPr/>
          </p:nvSpPr>
          <p:spPr bwMode="gray">
            <a:xfrm>
              <a:off x="8102604" y="825501"/>
              <a:ext cx="585471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632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768445" y="255920"/>
            <a:ext cx="952294" cy="1336855"/>
            <a:chOff x="7769225" y="250825"/>
            <a:chExt cx="834113" cy="1310242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79004" y="275717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79004" y="550355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79004" y="824994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79004" y="1096457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79004" y="1372682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pic>
        <p:nvPicPr>
          <p:cNvPr id="67" name="Immagine 4" descr="Logo Private Banking_W.png" hidden="1"/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8031" y="6371267"/>
            <a:ext cx="2100841" cy="236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115" descr="Risultati immagini per intesa sanpaolo innovation center logo png">
            <a:extLst>
              <a:ext uri="{FF2B5EF4-FFF2-40B4-BE49-F238E27FC236}">
                <a16:creationId xmlns:a16="http://schemas.microsoft.com/office/drawing/2014/main" id="{BA4C5377-FF92-4D2E-84EB-E7D083F12CC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92400" y="6361915"/>
            <a:ext cx="2408889" cy="34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uppo 4"/>
          <p:cNvGrpSpPr/>
          <p:nvPr userDrawn="1"/>
        </p:nvGrpSpPr>
        <p:grpSpPr>
          <a:xfrm>
            <a:off x="11742352" y="89896"/>
            <a:ext cx="347441" cy="323140"/>
            <a:chOff x="11508422" y="88106"/>
            <a:chExt cx="340519" cy="316707"/>
          </a:xfrm>
        </p:grpSpPr>
        <p:grpSp>
          <p:nvGrpSpPr>
            <p:cNvPr id="64" name="Gruppo 63"/>
            <p:cNvGrpSpPr/>
            <p:nvPr/>
          </p:nvGrpSpPr>
          <p:grpSpPr>
            <a:xfrm>
              <a:off x="11582401" y="173832"/>
              <a:ext cx="197643" cy="147638"/>
              <a:chOff x="11582401" y="173832"/>
              <a:chExt cx="197643" cy="147638"/>
            </a:xfrm>
          </p:grpSpPr>
          <p:cxnSp>
            <p:nvCxnSpPr>
              <p:cNvPr id="68" name="Connettore 1 67"/>
              <p:cNvCxnSpPr/>
              <p:nvPr/>
            </p:nvCxnSpPr>
            <p:spPr>
              <a:xfrm>
                <a:off x="11582401" y="173832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Connettore 1 68"/>
              <p:cNvCxnSpPr/>
              <p:nvPr/>
            </p:nvCxnSpPr>
            <p:spPr>
              <a:xfrm>
                <a:off x="11582401" y="245270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Connettore 1 69"/>
              <p:cNvCxnSpPr/>
              <p:nvPr/>
            </p:nvCxnSpPr>
            <p:spPr>
              <a:xfrm>
                <a:off x="11582401" y="321470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uppo 71"/>
            <p:cNvGrpSpPr/>
            <p:nvPr/>
          </p:nvGrpSpPr>
          <p:grpSpPr>
            <a:xfrm>
              <a:off x="11582401" y="173832"/>
              <a:ext cx="197643" cy="147638"/>
              <a:chOff x="11582401" y="173832"/>
              <a:chExt cx="197643" cy="147638"/>
            </a:xfrm>
          </p:grpSpPr>
          <p:cxnSp>
            <p:nvCxnSpPr>
              <p:cNvPr id="74" name="Connettore 1 73"/>
              <p:cNvCxnSpPr/>
              <p:nvPr/>
            </p:nvCxnSpPr>
            <p:spPr>
              <a:xfrm>
                <a:off x="11582401" y="173832"/>
                <a:ext cx="197643" cy="0"/>
              </a:xfrm>
              <a:prstGeom prst="line">
                <a:avLst/>
              </a:prstGeom>
              <a:ln w="19050">
                <a:solidFill>
                  <a:srgbClr val="406B9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Connettore 1 74"/>
              <p:cNvCxnSpPr/>
              <p:nvPr/>
            </p:nvCxnSpPr>
            <p:spPr>
              <a:xfrm>
                <a:off x="11582401" y="245270"/>
                <a:ext cx="197643" cy="0"/>
              </a:xfrm>
              <a:prstGeom prst="line">
                <a:avLst/>
              </a:prstGeom>
              <a:ln w="19050">
                <a:solidFill>
                  <a:srgbClr val="406B9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Connettore 1 75"/>
              <p:cNvCxnSpPr/>
              <p:nvPr/>
            </p:nvCxnSpPr>
            <p:spPr>
              <a:xfrm>
                <a:off x="11582401" y="321470"/>
                <a:ext cx="197643" cy="0"/>
              </a:xfrm>
              <a:prstGeom prst="line">
                <a:avLst/>
              </a:prstGeom>
              <a:ln w="19050">
                <a:solidFill>
                  <a:srgbClr val="406B9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3" name="Rettangolo 72">
              <a:hlinkClick r:id="rId28" action="ppaction://hlinksldjump"/>
            </p:cNvPr>
            <p:cNvSpPr/>
            <p:nvPr/>
          </p:nvSpPr>
          <p:spPr>
            <a:xfrm>
              <a:off x="11508422" y="88106"/>
              <a:ext cx="340519" cy="3167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837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4412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7" r:id="rId3"/>
    <p:sldLayoutId id="2147483669" r:id="rId4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245" b="1" baseline="0">
          <a:solidFill>
            <a:schemeClr val="tx2"/>
          </a:solidFill>
          <a:latin typeface="Century Gothic" panose="020B0502020202020204" pitchFamily="34" charset="0"/>
          <a:ea typeface="+mj-ea"/>
          <a:cs typeface="+mj-cs"/>
          <a:sym typeface="Century Gothic" panose="020B0502020202020204" pitchFamily="34" charset="0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  <a:sym typeface="Century Gothic" panose="020B0502020202020204" pitchFamily="34" charset="0"/>
        </a:defRPr>
      </a:lvl1pPr>
      <a:lvl2pPr marL="263488" indent="-26132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2pPr>
      <a:lvl3pPr marL="622005" indent="-356358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3pPr>
      <a:lvl4pPr marL="835822" indent="-211655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4pPr>
      <a:lvl5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o 1">
            <a:extLst>
              <a:ext uri="{FF2B5EF4-FFF2-40B4-BE49-F238E27FC236}">
                <a16:creationId xmlns:a16="http://schemas.microsoft.com/office/drawing/2014/main" id="{FB6B1B85-3120-D647-8AF7-BA422AF2EB7C}"/>
              </a:ext>
            </a:extLst>
          </p:cNvPr>
          <p:cNvGrpSpPr/>
          <p:nvPr userDrawn="1"/>
        </p:nvGrpSpPr>
        <p:grpSpPr>
          <a:xfrm>
            <a:off x="11742352" y="89896"/>
            <a:ext cx="347441" cy="323140"/>
            <a:chOff x="11508422" y="88106"/>
            <a:chExt cx="340519" cy="316707"/>
          </a:xfrm>
        </p:grpSpPr>
        <p:grpSp>
          <p:nvGrpSpPr>
            <p:cNvPr id="3" name="Gruppo 2">
              <a:extLst>
                <a:ext uri="{FF2B5EF4-FFF2-40B4-BE49-F238E27FC236}">
                  <a16:creationId xmlns:a16="http://schemas.microsoft.com/office/drawing/2014/main" id="{308A1139-A016-2E40-A263-5DA8B0DB117A}"/>
                </a:ext>
              </a:extLst>
            </p:cNvPr>
            <p:cNvGrpSpPr/>
            <p:nvPr/>
          </p:nvGrpSpPr>
          <p:grpSpPr>
            <a:xfrm>
              <a:off x="11582401" y="173832"/>
              <a:ext cx="197643" cy="147638"/>
              <a:chOff x="11582401" y="173832"/>
              <a:chExt cx="197643" cy="147638"/>
            </a:xfrm>
          </p:grpSpPr>
          <p:cxnSp>
            <p:nvCxnSpPr>
              <p:cNvPr id="9" name="Connettore 1 8">
                <a:extLst>
                  <a:ext uri="{FF2B5EF4-FFF2-40B4-BE49-F238E27FC236}">
                    <a16:creationId xmlns:a16="http://schemas.microsoft.com/office/drawing/2014/main" id="{A2BFFEE6-C1FF-BF49-8E65-46EC261AAC49}"/>
                  </a:ext>
                </a:extLst>
              </p:cNvPr>
              <p:cNvCxnSpPr/>
              <p:nvPr/>
            </p:nvCxnSpPr>
            <p:spPr>
              <a:xfrm>
                <a:off x="11582401" y="173832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Connettore 1 9">
                <a:extLst>
                  <a:ext uri="{FF2B5EF4-FFF2-40B4-BE49-F238E27FC236}">
                    <a16:creationId xmlns:a16="http://schemas.microsoft.com/office/drawing/2014/main" id="{E62A44E9-EC47-3344-AFFC-53A78E2E2D2F}"/>
                  </a:ext>
                </a:extLst>
              </p:cNvPr>
              <p:cNvCxnSpPr/>
              <p:nvPr/>
            </p:nvCxnSpPr>
            <p:spPr>
              <a:xfrm>
                <a:off x="11582401" y="245270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Connettore 1 10">
                <a:extLst>
                  <a:ext uri="{FF2B5EF4-FFF2-40B4-BE49-F238E27FC236}">
                    <a16:creationId xmlns:a16="http://schemas.microsoft.com/office/drawing/2014/main" id="{5D71FD1F-1277-104E-A5A3-466A6F3CD6F6}"/>
                  </a:ext>
                </a:extLst>
              </p:cNvPr>
              <p:cNvCxnSpPr/>
              <p:nvPr/>
            </p:nvCxnSpPr>
            <p:spPr>
              <a:xfrm>
                <a:off x="11582401" y="321470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uppo 3">
              <a:extLst>
                <a:ext uri="{FF2B5EF4-FFF2-40B4-BE49-F238E27FC236}">
                  <a16:creationId xmlns:a16="http://schemas.microsoft.com/office/drawing/2014/main" id="{48DB31EF-292E-4644-9B30-5EC84CEEE66E}"/>
                </a:ext>
              </a:extLst>
            </p:cNvPr>
            <p:cNvGrpSpPr/>
            <p:nvPr/>
          </p:nvGrpSpPr>
          <p:grpSpPr>
            <a:xfrm>
              <a:off x="11582401" y="173832"/>
              <a:ext cx="197643" cy="147638"/>
              <a:chOff x="11582401" y="173832"/>
              <a:chExt cx="197643" cy="147638"/>
            </a:xfrm>
          </p:grpSpPr>
          <p:cxnSp>
            <p:nvCxnSpPr>
              <p:cNvPr id="6" name="Connettore 1 5">
                <a:extLst>
                  <a:ext uri="{FF2B5EF4-FFF2-40B4-BE49-F238E27FC236}">
                    <a16:creationId xmlns:a16="http://schemas.microsoft.com/office/drawing/2014/main" id="{CB457C82-0132-2C42-8420-CE71F2998E18}"/>
                  </a:ext>
                </a:extLst>
              </p:cNvPr>
              <p:cNvCxnSpPr/>
              <p:nvPr/>
            </p:nvCxnSpPr>
            <p:spPr>
              <a:xfrm>
                <a:off x="11582401" y="173832"/>
                <a:ext cx="197643" cy="0"/>
              </a:xfrm>
              <a:prstGeom prst="line">
                <a:avLst/>
              </a:prstGeom>
              <a:ln w="19050">
                <a:solidFill>
                  <a:srgbClr val="406B9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Connettore 1 6">
                <a:extLst>
                  <a:ext uri="{FF2B5EF4-FFF2-40B4-BE49-F238E27FC236}">
                    <a16:creationId xmlns:a16="http://schemas.microsoft.com/office/drawing/2014/main" id="{26CCB230-B040-6F47-8707-46D1B7B8650A}"/>
                  </a:ext>
                </a:extLst>
              </p:cNvPr>
              <p:cNvCxnSpPr/>
              <p:nvPr/>
            </p:nvCxnSpPr>
            <p:spPr>
              <a:xfrm>
                <a:off x="11582401" y="245270"/>
                <a:ext cx="197643" cy="0"/>
              </a:xfrm>
              <a:prstGeom prst="line">
                <a:avLst/>
              </a:prstGeom>
              <a:ln w="19050">
                <a:solidFill>
                  <a:srgbClr val="406B9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Connettore 1 7">
                <a:extLst>
                  <a:ext uri="{FF2B5EF4-FFF2-40B4-BE49-F238E27FC236}">
                    <a16:creationId xmlns:a16="http://schemas.microsoft.com/office/drawing/2014/main" id="{0CC9C648-EF5B-A646-94F0-C1B807BB7160}"/>
                  </a:ext>
                </a:extLst>
              </p:cNvPr>
              <p:cNvCxnSpPr/>
              <p:nvPr/>
            </p:nvCxnSpPr>
            <p:spPr>
              <a:xfrm>
                <a:off x="11582401" y="321470"/>
                <a:ext cx="197643" cy="0"/>
              </a:xfrm>
              <a:prstGeom prst="line">
                <a:avLst/>
              </a:prstGeom>
              <a:ln w="19050">
                <a:solidFill>
                  <a:srgbClr val="406B9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" name="Rettangolo 4">
              <a:hlinkClick r:id="rId3" action="ppaction://hlinksldjump"/>
              <a:extLst>
                <a:ext uri="{FF2B5EF4-FFF2-40B4-BE49-F238E27FC236}">
                  <a16:creationId xmlns:a16="http://schemas.microsoft.com/office/drawing/2014/main" id="{5EF97EBA-6729-034E-A1DC-FA97B6E9AAE0}"/>
                </a:ext>
              </a:extLst>
            </p:cNvPr>
            <p:cNvSpPr/>
            <p:nvPr/>
          </p:nvSpPr>
          <p:spPr>
            <a:xfrm>
              <a:off x="11508422" y="88106"/>
              <a:ext cx="340519" cy="3167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837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2752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</p:sldLayoutIdLst>
  <p:txStyles>
    <p:titleStyle>
      <a:lvl1pPr algn="l" defTabSz="932962" rtl="0" eaLnBrk="1" latinLnBrk="0" hangingPunct="1">
        <a:lnSpc>
          <a:spcPct val="90000"/>
        </a:lnSpc>
        <a:spcBef>
          <a:spcPct val="0"/>
        </a:spcBef>
        <a:buNone/>
        <a:defRPr sz="448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241" indent="-233241" algn="l" defTabSz="932962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7" kern="1200">
          <a:solidFill>
            <a:schemeClr val="tx1"/>
          </a:solidFill>
          <a:latin typeface="+mn-lt"/>
          <a:ea typeface="+mn-ea"/>
          <a:cs typeface="+mn-cs"/>
        </a:defRPr>
      </a:lvl1pPr>
      <a:lvl2pPr marL="699722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166203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3pPr>
      <a:lvl4pPr marL="1632684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2099165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565646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3032128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498609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965090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olo 1">
            <a:extLst>
              <a:ext uri="{FF2B5EF4-FFF2-40B4-BE49-F238E27FC236}">
                <a16:creationId xmlns:a16="http://schemas.microsoft.com/office/drawing/2014/main" id="{8C1B8DA0-F984-C347-BBD3-792860BD0ECA}"/>
              </a:ext>
            </a:extLst>
          </p:cNvPr>
          <p:cNvSpPr txBox="1">
            <a:spLocks/>
          </p:cNvSpPr>
          <p:nvPr/>
        </p:nvSpPr>
        <p:spPr>
          <a:xfrm>
            <a:off x="2159059" y="3475567"/>
            <a:ext cx="8563907" cy="935552"/>
          </a:xfrm>
          <a:prstGeom prst="rect">
            <a:avLst/>
          </a:prstGeom>
        </p:spPr>
        <p:txBody>
          <a:bodyPr lIns="0" tIns="0" rIns="0" bIns="0"/>
          <a:lstStyle/>
          <a:p>
            <a:pPr defTabSz="932962">
              <a:spcBef>
                <a:spcPct val="0"/>
              </a:spcBef>
              <a:defRPr/>
            </a:pPr>
            <a:r>
              <a:rPr lang="it-IT" sz="3467" b="1" dirty="0">
                <a:solidFill>
                  <a:srgbClr val="003A79"/>
                </a:solidFill>
                <a:latin typeface="Century Gothic" pitchFamily="34" charset="0"/>
                <a:cs typeface="Arial"/>
              </a:rPr>
              <a:t>Il ruolo della Banca a sostegno delle startup: l’esperienza dell’Innovation Center di Intesa Sanpaolo</a:t>
            </a:r>
          </a:p>
        </p:txBody>
      </p:sp>
      <p:pic>
        <p:nvPicPr>
          <p:cNvPr id="7173" name="Immagine 4" descr="INTESA_SANPAOLO white.png">
            <a:extLst>
              <a:ext uri="{FF2B5EF4-FFF2-40B4-BE49-F238E27FC236}">
                <a16:creationId xmlns:a16="http://schemas.microsoft.com/office/drawing/2014/main" id="{73204114-A60C-A047-8C3F-F00C6AFB05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59" y="2465932"/>
            <a:ext cx="4273488" cy="624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47860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magine 22">
            <a:extLst>
              <a:ext uri="{FF2B5EF4-FFF2-40B4-BE49-F238E27FC236}">
                <a16:creationId xmlns:a16="http://schemas.microsoft.com/office/drawing/2014/main" id="{20ED8DA6-1D46-494A-BA24-42F9C5770A3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0" r="300"/>
          <a:stretch/>
        </p:blipFill>
        <p:spPr>
          <a:xfrm>
            <a:off x="91" y="1"/>
            <a:ext cx="12191821" cy="6164709"/>
          </a:xfrm>
          <a:prstGeom prst="rect">
            <a:avLst/>
          </a:prstGeom>
        </p:spPr>
      </p:pic>
      <p:sp>
        <p:nvSpPr>
          <p:cNvPr id="32" name="Titolo 1">
            <a:extLst>
              <a:ext uri="{FF2B5EF4-FFF2-40B4-BE49-F238E27FC236}">
                <a16:creationId xmlns:a16="http://schemas.microsoft.com/office/drawing/2014/main" id="{38CFF702-DE2D-C546-8222-18D1BEBB226E}"/>
              </a:ext>
            </a:extLst>
          </p:cNvPr>
          <p:cNvSpPr txBox="1">
            <a:spLocks/>
          </p:cNvSpPr>
          <p:nvPr/>
        </p:nvSpPr>
        <p:spPr>
          <a:xfrm>
            <a:off x="544067" y="374651"/>
            <a:ext cx="10363047" cy="545042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398" b="1" kern="1200">
                <a:solidFill>
                  <a:srgbClr val="003A79"/>
                </a:solidFill>
                <a:latin typeface="Century Gothic" pitchFamily="34" charset="0"/>
                <a:ea typeface="+mj-ea"/>
                <a:cs typeface="Arial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5pPr>
            <a:lvl6pPr marL="597469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6pPr>
            <a:lvl7pPr marL="1194938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7pPr>
            <a:lvl8pPr marL="1792407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8pPr>
            <a:lvl9pPr marL="2389876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32962">
              <a:defRPr/>
            </a:pPr>
            <a:endParaRPr lang="it-IT" sz="2857" dirty="0"/>
          </a:p>
        </p:txBody>
      </p:sp>
      <p:pic>
        <p:nvPicPr>
          <p:cNvPr id="20" name="Immagine 19">
            <a:extLst>
              <a:ext uri="{FF2B5EF4-FFF2-40B4-BE49-F238E27FC236}">
                <a16:creationId xmlns:a16="http://schemas.microsoft.com/office/drawing/2014/main" id="{74D3CF56-6B54-4451-AB7A-B9DAFF5C3EF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7273" y="1342315"/>
            <a:ext cx="1250378" cy="1250378"/>
          </a:xfrm>
          <a:prstGeom prst="rect">
            <a:avLst/>
          </a:prstGeom>
        </p:spPr>
      </p:pic>
      <p:sp>
        <p:nvSpPr>
          <p:cNvPr id="24" name="Titolo 1">
            <a:extLst>
              <a:ext uri="{FF2B5EF4-FFF2-40B4-BE49-F238E27FC236}">
                <a16:creationId xmlns:a16="http://schemas.microsoft.com/office/drawing/2014/main" id="{205CD322-395B-452B-A6ED-38199D42944E}"/>
              </a:ext>
            </a:extLst>
          </p:cNvPr>
          <p:cNvSpPr txBox="1">
            <a:spLocks/>
          </p:cNvSpPr>
          <p:nvPr/>
        </p:nvSpPr>
        <p:spPr>
          <a:xfrm>
            <a:off x="325821" y="160667"/>
            <a:ext cx="11072648" cy="6118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800" dirty="0">
                <a:solidFill>
                  <a:srgbClr val="5B9BD5">
                    <a:lumMod val="50000"/>
                  </a:srgbClr>
                </a:solidFill>
              </a:rPr>
              <a:t>COSA E </a:t>
            </a: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CHI CERCA UNA STARTUP</a:t>
            </a:r>
          </a:p>
        </p:txBody>
      </p:sp>
      <p:sp>
        <p:nvSpPr>
          <p:cNvPr id="25" name="Titolo 1">
            <a:extLst>
              <a:ext uri="{FF2B5EF4-FFF2-40B4-BE49-F238E27FC236}">
                <a16:creationId xmlns:a16="http://schemas.microsoft.com/office/drawing/2014/main" id="{DC9AFEAE-28CF-45A6-9832-E345B25E0289}"/>
              </a:ext>
            </a:extLst>
          </p:cNvPr>
          <p:cNvSpPr txBox="1">
            <a:spLocks/>
          </p:cNvSpPr>
          <p:nvPr/>
        </p:nvSpPr>
        <p:spPr>
          <a:xfrm>
            <a:off x="251562" y="1764871"/>
            <a:ext cx="2588445" cy="6118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Money </a:t>
            </a:r>
          </a:p>
        </p:txBody>
      </p:sp>
      <p:sp>
        <p:nvSpPr>
          <p:cNvPr id="33" name="Titolo 1">
            <a:extLst>
              <a:ext uri="{FF2B5EF4-FFF2-40B4-BE49-F238E27FC236}">
                <a16:creationId xmlns:a16="http://schemas.microsoft.com/office/drawing/2014/main" id="{D539AE35-794A-4557-8EDF-3F905E81465F}"/>
              </a:ext>
            </a:extLst>
          </p:cNvPr>
          <p:cNvSpPr txBox="1">
            <a:spLocks/>
          </p:cNvSpPr>
          <p:nvPr/>
        </p:nvSpPr>
        <p:spPr>
          <a:xfrm>
            <a:off x="380903" y="4051951"/>
            <a:ext cx="2329763" cy="6118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Partnership</a:t>
            </a:r>
          </a:p>
        </p:txBody>
      </p:sp>
      <p:sp>
        <p:nvSpPr>
          <p:cNvPr id="34" name="Titolo 1">
            <a:extLst>
              <a:ext uri="{FF2B5EF4-FFF2-40B4-BE49-F238E27FC236}">
                <a16:creationId xmlns:a16="http://schemas.microsoft.com/office/drawing/2014/main" id="{DDEBA3F2-5AAB-4A29-92A0-C20729058CE4}"/>
              </a:ext>
            </a:extLst>
          </p:cNvPr>
          <p:cNvSpPr txBox="1">
            <a:spLocks/>
          </p:cNvSpPr>
          <p:nvPr/>
        </p:nvSpPr>
        <p:spPr>
          <a:xfrm>
            <a:off x="5035565" y="4051951"/>
            <a:ext cx="4535213" cy="61184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571500" indent="-5715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 sz="2800" b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406B9B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26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Aziende</a:t>
            </a:r>
          </a:p>
        </p:txBody>
      </p:sp>
      <p:sp>
        <p:nvSpPr>
          <p:cNvPr id="35" name="Titolo 1">
            <a:extLst>
              <a:ext uri="{FF2B5EF4-FFF2-40B4-BE49-F238E27FC236}">
                <a16:creationId xmlns:a16="http://schemas.microsoft.com/office/drawing/2014/main" id="{6E8CD523-9590-46CE-BFA0-5D9F3B92861C}"/>
              </a:ext>
            </a:extLst>
          </p:cNvPr>
          <p:cNvSpPr txBox="1">
            <a:spLocks/>
          </p:cNvSpPr>
          <p:nvPr/>
        </p:nvSpPr>
        <p:spPr>
          <a:xfrm>
            <a:off x="229272" y="5538671"/>
            <a:ext cx="2633025" cy="6118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1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Acceleratori</a:t>
            </a:r>
          </a:p>
        </p:txBody>
      </p:sp>
      <p:sp>
        <p:nvSpPr>
          <p:cNvPr id="36" name="Titolo 1">
            <a:extLst>
              <a:ext uri="{FF2B5EF4-FFF2-40B4-BE49-F238E27FC236}">
                <a16:creationId xmlns:a16="http://schemas.microsoft.com/office/drawing/2014/main" id="{58E70652-50CE-4B92-9FA1-C3101A86A1EC}"/>
              </a:ext>
            </a:extLst>
          </p:cNvPr>
          <p:cNvSpPr txBox="1">
            <a:spLocks/>
          </p:cNvSpPr>
          <p:nvPr/>
        </p:nvSpPr>
        <p:spPr>
          <a:xfrm>
            <a:off x="5035565" y="5538671"/>
            <a:ext cx="7722747" cy="61184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571500" indent="-5715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 sz="2800" b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406B9B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1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Opportunità di crescita e</a:t>
            </a:r>
            <a:r>
              <a:rPr kumimoji="0" lang="it-IT" sz="2800" b="1" i="0" u="none" strike="noStrike" kern="1200" cap="none" spc="0" normalizeH="0" noProof="0" dirty="0">
                <a:ln>
                  <a:noFill/>
                </a:ln>
                <a:solidFill>
                  <a:schemeClr val="accent1">
                    <a:lumMod val="1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 incontro</a:t>
            </a:r>
            <a:endParaRPr kumimoji="0" lang="it-IT" sz="28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10000"/>
                </a:schemeClr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pic>
        <p:nvPicPr>
          <p:cNvPr id="38" name="Immagine 37">
            <a:extLst>
              <a:ext uri="{FF2B5EF4-FFF2-40B4-BE49-F238E27FC236}">
                <a16:creationId xmlns:a16="http://schemas.microsoft.com/office/drawing/2014/main" id="{B770E661-2609-4E9B-B21C-AD09457162CD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lumMod val="10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encil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4331" y="3759640"/>
            <a:ext cx="952154" cy="849614"/>
          </a:xfrm>
          <a:prstGeom prst="rect">
            <a:avLst/>
          </a:prstGeom>
        </p:spPr>
      </p:pic>
      <p:pic>
        <p:nvPicPr>
          <p:cNvPr id="39" name="Immagine 38">
            <a:extLst>
              <a:ext uri="{FF2B5EF4-FFF2-40B4-BE49-F238E27FC236}">
                <a16:creationId xmlns:a16="http://schemas.microsoft.com/office/drawing/2014/main" id="{23AFEDED-7DFA-4236-A2AE-18F8982C9D71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9906" y="5361453"/>
            <a:ext cx="1031983" cy="966279"/>
          </a:xfrm>
          <a:prstGeom prst="rect">
            <a:avLst/>
          </a:prstGeom>
        </p:spPr>
      </p:pic>
      <p:cxnSp>
        <p:nvCxnSpPr>
          <p:cNvPr id="40" name="Connettore diritto 39">
            <a:extLst>
              <a:ext uri="{FF2B5EF4-FFF2-40B4-BE49-F238E27FC236}">
                <a16:creationId xmlns:a16="http://schemas.microsoft.com/office/drawing/2014/main" id="{0CC7EFD6-B93A-4A8A-9804-645D9E9087E4}"/>
              </a:ext>
            </a:extLst>
          </p:cNvPr>
          <p:cNvCxnSpPr/>
          <p:nvPr/>
        </p:nvCxnSpPr>
        <p:spPr>
          <a:xfrm>
            <a:off x="-236485" y="3472068"/>
            <a:ext cx="12722773" cy="0"/>
          </a:xfrm>
          <a:prstGeom prst="line">
            <a:avLst/>
          </a:prstGeom>
          <a:ln>
            <a:solidFill>
              <a:srgbClr val="406B9B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tolo 1">
            <a:extLst>
              <a:ext uri="{FF2B5EF4-FFF2-40B4-BE49-F238E27FC236}">
                <a16:creationId xmlns:a16="http://schemas.microsoft.com/office/drawing/2014/main" id="{CA3316E5-17D7-454B-90D2-C39DED61E427}"/>
              </a:ext>
            </a:extLst>
          </p:cNvPr>
          <p:cNvSpPr txBox="1">
            <a:spLocks/>
          </p:cNvSpPr>
          <p:nvPr/>
        </p:nvSpPr>
        <p:spPr>
          <a:xfrm>
            <a:off x="5035565" y="821347"/>
            <a:ext cx="7156435" cy="396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indent="-571500">
              <a:buClr>
                <a:srgbClr val="406B9B"/>
              </a:buClr>
              <a:buFont typeface="Wingdings" panose="05000000000000000000" pitchFamily="2" charset="2"/>
              <a:buChar char="Ø"/>
            </a:pPr>
            <a:r>
              <a:rPr lang="it-IT" sz="2600" dirty="0">
                <a:solidFill>
                  <a:srgbClr val="406B9B"/>
                </a:solidFill>
              </a:rPr>
              <a:t>Family and friends</a:t>
            </a:r>
          </a:p>
        </p:txBody>
      </p:sp>
      <p:sp>
        <p:nvSpPr>
          <p:cNvPr id="42" name="Titolo 1">
            <a:extLst>
              <a:ext uri="{FF2B5EF4-FFF2-40B4-BE49-F238E27FC236}">
                <a16:creationId xmlns:a16="http://schemas.microsoft.com/office/drawing/2014/main" id="{3D246E24-EDC1-4F7A-85F6-80D30CEFC064}"/>
              </a:ext>
            </a:extLst>
          </p:cNvPr>
          <p:cNvSpPr txBox="1">
            <a:spLocks/>
          </p:cNvSpPr>
          <p:nvPr/>
        </p:nvSpPr>
        <p:spPr>
          <a:xfrm>
            <a:off x="5035564" y="1733687"/>
            <a:ext cx="5857163" cy="396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indent="-571500">
              <a:buClr>
                <a:srgbClr val="406B9B"/>
              </a:buClr>
              <a:buFont typeface="Wingdings" panose="05000000000000000000" pitchFamily="2" charset="2"/>
              <a:buChar char="Ø"/>
            </a:pPr>
            <a:r>
              <a:rPr lang="it-IT" sz="2600" dirty="0">
                <a:solidFill>
                  <a:srgbClr val="406B9B"/>
                </a:solidFill>
              </a:rPr>
              <a:t>VC</a:t>
            </a:r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BD835ADA-DEF2-4C00-AF51-A581356139B4}"/>
              </a:ext>
            </a:extLst>
          </p:cNvPr>
          <p:cNvSpPr/>
          <p:nvPr/>
        </p:nvSpPr>
        <p:spPr>
          <a:xfrm>
            <a:off x="5035565" y="1277517"/>
            <a:ext cx="3818674" cy="396000"/>
          </a:xfrm>
          <a:prstGeom prst="rect">
            <a:avLst/>
          </a:prstGeom>
        </p:spPr>
        <p:txBody>
          <a:bodyPr anchor="ctr"/>
          <a:lstStyle/>
          <a:p>
            <a:pPr marL="571500" indent="-571500">
              <a:lnSpc>
                <a:spcPct val="90000"/>
              </a:lnSpc>
              <a:spcBef>
                <a:spcPct val="0"/>
              </a:spcBef>
              <a:buClr>
                <a:srgbClr val="406B9B"/>
              </a:buClr>
              <a:buFont typeface="Wingdings" panose="05000000000000000000" pitchFamily="2" charset="2"/>
              <a:buChar char="Ø"/>
            </a:pPr>
            <a:r>
              <a:rPr lang="it-IT" sz="2600" b="1" dirty="0">
                <a:solidFill>
                  <a:srgbClr val="406B9B"/>
                </a:solidFill>
                <a:latin typeface="Century Gothic" panose="020B0502020202020204" pitchFamily="34" charset="0"/>
                <a:ea typeface="+mj-ea"/>
                <a:cs typeface="+mj-cs"/>
              </a:rPr>
              <a:t>Business Angel</a:t>
            </a:r>
          </a:p>
        </p:txBody>
      </p:sp>
      <p:sp>
        <p:nvSpPr>
          <p:cNvPr id="44" name="Titolo 1">
            <a:extLst>
              <a:ext uri="{FF2B5EF4-FFF2-40B4-BE49-F238E27FC236}">
                <a16:creationId xmlns:a16="http://schemas.microsoft.com/office/drawing/2014/main" id="{1F3C7441-6870-477F-9C14-957F649FEE8B}"/>
              </a:ext>
            </a:extLst>
          </p:cNvPr>
          <p:cNvSpPr txBox="1">
            <a:spLocks/>
          </p:cNvSpPr>
          <p:nvPr/>
        </p:nvSpPr>
        <p:spPr>
          <a:xfrm>
            <a:off x="5035564" y="2189857"/>
            <a:ext cx="5857163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406B9B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2600" b="1" i="0" u="none" strike="noStrike" kern="1200" cap="none" spc="0" normalizeH="0" baseline="0" noProof="0" dirty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Banche</a:t>
            </a:r>
          </a:p>
        </p:txBody>
      </p:sp>
      <p:sp>
        <p:nvSpPr>
          <p:cNvPr id="45" name="Titolo 1">
            <a:extLst>
              <a:ext uri="{FF2B5EF4-FFF2-40B4-BE49-F238E27FC236}">
                <a16:creationId xmlns:a16="http://schemas.microsoft.com/office/drawing/2014/main" id="{53F81AB1-1950-4A40-9FDE-2A655AA8DD27}"/>
              </a:ext>
            </a:extLst>
          </p:cNvPr>
          <p:cNvSpPr txBox="1">
            <a:spLocks/>
          </p:cNvSpPr>
          <p:nvPr/>
        </p:nvSpPr>
        <p:spPr>
          <a:xfrm>
            <a:off x="5035564" y="2646028"/>
            <a:ext cx="5857163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406B9B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2600" b="1" i="0" u="none" strike="noStrike" kern="1200" cap="none" spc="0" normalizeH="0" baseline="0" noProof="0" dirty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Equity Crowdfunding</a:t>
            </a:r>
          </a:p>
        </p:txBody>
      </p:sp>
      <p:cxnSp>
        <p:nvCxnSpPr>
          <p:cNvPr id="47" name="Connettore diritto 46">
            <a:extLst>
              <a:ext uri="{FF2B5EF4-FFF2-40B4-BE49-F238E27FC236}">
                <a16:creationId xmlns:a16="http://schemas.microsoft.com/office/drawing/2014/main" id="{04CEADAA-809F-4C79-BB55-D6B2368157DC}"/>
              </a:ext>
            </a:extLst>
          </p:cNvPr>
          <p:cNvCxnSpPr/>
          <p:nvPr/>
        </p:nvCxnSpPr>
        <p:spPr>
          <a:xfrm>
            <a:off x="-367864" y="5011833"/>
            <a:ext cx="12722773" cy="0"/>
          </a:xfrm>
          <a:prstGeom prst="line">
            <a:avLst/>
          </a:prstGeom>
          <a:ln>
            <a:solidFill>
              <a:srgbClr val="406B9B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D6026040-05A7-4163-B1C1-A0EADE251A33}"/>
              </a:ext>
            </a:extLst>
          </p:cNvPr>
          <p:cNvSpPr txBox="1"/>
          <p:nvPr/>
        </p:nvSpPr>
        <p:spPr>
          <a:xfrm>
            <a:off x="5035565" y="3225986"/>
            <a:ext cx="1759373" cy="478912"/>
          </a:xfrm>
          <a:prstGeom prst="rect">
            <a:avLst/>
          </a:prstGeom>
          <a:solidFill>
            <a:srgbClr val="F9FBFB"/>
          </a:solidFill>
        </p:spPr>
        <p:txBody>
          <a:bodyPr/>
          <a:lstStyle>
            <a:defPPr>
              <a:defRPr lang="it-IT"/>
            </a:defPPr>
            <a:lvl1pPr marL="571500" indent="-5715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 sz="2800" b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406B9B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2600" b="1" i="0" u="none" strike="noStrike" kern="1200" cap="none" spc="0" normalizeH="0" baseline="0" noProof="0" dirty="0" err="1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Cvc</a:t>
            </a:r>
            <a:endParaRPr kumimoji="0" lang="it-IT" sz="2600" b="1" i="0" u="none" strike="noStrike" kern="1200" cap="none" spc="0" normalizeH="0" baseline="0" noProof="0" dirty="0">
              <a:ln>
                <a:noFill/>
              </a:ln>
              <a:solidFill>
                <a:srgbClr val="406B9B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63330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33" grpId="0"/>
      <p:bldP spid="34" grpId="0"/>
      <p:bldP spid="35" grpId="0"/>
      <p:bldP spid="36" grpId="0"/>
      <p:bldP spid="41" grpId="0"/>
      <p:bldP spid="42" grpId="0"/>
      <p:bldP spid="43" grpId="0"/>
      <p:bldP spid="44" grpId="0"/>
      <p:bldP spid="45" grpId="0"/>
      <p:bldP spid="3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magine 22">
            <a:extLst>
              <a:ext uri="{FF2B5EF4-FFF2-40B4-BE49-F238E27FC236}">
                <a16:creationId xmlns:a16="http://schemas.microsoft.com/office/drawing/2014/main" id="{20ED8DA6-1D46-494A-BA24-42F9C5770A3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0" r="300"/>
          <a:stretch/>
        </p:blipFill>
        <p:spPr>
          <a:xfrm>
            <a:off x="91" y="1"/>
            <a:ext cx="12191821" cy="6164709"/>
          </a:xfrm>
          <a:prstGeom prst="rect">
            <a:avLst/>
          </a:prstGeom>
        </p:spPr>
      </p:pic>
      <p:sp>
        <p:nvSpPr>
          <p:cNvPr id="32" name="Titolo 1">
            <a:extLst>
              <a:ext uri="{FF2B5EF4-FFF2-40B4-BE49-F238E27FC236}">
                <a16:creationId xmlns:a16="http://schemas.microsoft.com/office/drawing/2014/main" id="{38CFF702-DE2D-C546-8222-18D1BEBB226E}"/>
              </a:ext>
            </a:extLst>
          </p:cNvPr>
          <p:cNvSpPr txBox="1">
            <a:spLocks/>
          </p:cNvSpPr>
          <p:nvPr/>
        </p:nvSpPr>
        <p:spPr>
          <a:xfrm>
            <a:off x="544067" y="374651"/>
            <a:ext cx="10363047" cy="545042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398" b="1" kern="1200">
                <a:solidFill>
                  <a:srgbClr val="003A79"/>
                </a:solidFill>
                <a:latin typeface="Century Gothic" pitchFamily="34" charset="0"/>
                <a:ea typeface="+mj-ea"/>
                <a:cs typeface="Arial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5pPr>
            <a:lvl6pPr marL="597469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6pPr>
            <a:lvl7pPr marL="1194938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7pPr>
            <a:lvl8pPr marL="1792407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8pPr>
            <a:lvl9pPr marL="2389876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32962">
              <a:defRPr/>
            </a:pPr>
            <a:endParaRPr lang="it-IT" sz="2857" dirty="0"/>
          </a:p>
        </p:txBody>
      </p:sp>
      <p:pic>
        <p:nvPicPr>
          <p:cNvPr id="20" name="Immagine 19">
            <a:extLst>
              <a:ext uri="{FF2B5EF4-FFF2-40B4-BE49-F238E27FC236}">
                <a16:creationId xmlns:a16="http://schemas.microsoft.com/office/drawing/2014/main" id="{74D3CF56-6B54-4451-AB7A-B9DAFF5C3EF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7273" y="1342315"/>
            <a:ext cx="1250378" cy="1250378"/>
          </a:xfrm>
          <a:prstGeom prst="rect">
            <a:avLst/>
          </a:prstGeom>
        </p:spPr>
      </p:pic>
      <p:sp>
        <p:nvSpPr>
          <p:cNvPr id="24" name="Titolo 1">
            <a:extLst>
              <a:ext uri="{FF2B5EF4-FFF2-40B4-BE49-F238E27FC236}">
                <a16:creationId xmlns:a16="http://schemas.microsoft.com/office/drawing/2014/main" id="{205CD322-395B-452B-A6ED-38199D42944E}"/>
              </a:ext>
            </a:extLst>
          </p:cNvPr>
          <p:cNvSpPr txBox="1">
            <a:spLocks/>
          </p:cNvSpPr>
          <p:nvPr/>
        </p:nvSpPr>
        <p:spPr>
          <a:xfrm>
            <a:off x="325821" y="160667"/>
            <a:ext cx="11072648" cy="6118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CHI CERCA UNA STARTUP</a:t>
            </a:r>
          </a:p>
        </p:txBody>
      </p:sp>
      <p:sp>
        <p:nvSpPr>
          <p:cNvPr id="25" name="Titolo 1">
            <a:extLst>
              <a:ext uri="{FF2B5EF4-FFF2-40B4-BE49-F238E27FC236}">
                <a16:creationId xmlns:a16="http://schemas.microsoft.com/office/drawing/2014/main" id="{DC9AFEAE-28CF-45A6-9832-E345B25E0289}"/>
              </a:ext>
            </a:extLst>
          </p:cNvPr>
          <p:cNvSpPr txBox="1">
            <a:spLocks/>
          </p:cNvSpPr>
          <p:nvPr/>
        </p:nvSpPr>
        <p:spPr>
          <a:xfrm>
            <a:off x="251562" y="1764871"/>
            <a:ext cx="2588445" cy="6118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Money </a:t>
            </a:r>
          </a:p>
        </p:txBody>
      </p:sp>
      <p:sp>
        <p:nvSpPr>
          <p:cNvPr id="33" name="Titolo 1">
            <a:extLst>
              <a:ext uri="{FF2B5EF4-FFF2-40B4-BE49-F238E27FC236}">
                <a16:creationId xmlns:a16="http://schemas.microsoft.com/office/drawing/2014/main" id="{D539AE35-794A-4557-8EDF-3F905E81465F}"/>
              </a:ext>
            </a:extLst>
          </p:cNvPr>
          <p:cNvSpPr txBox="1">
            <a:spLocks/>
          </p:cNvSpPr>
          <p:nvPr/>
        </p:nvSpPr>
        <p:spPr>
          <a:xfrm>
            <a:off x="380903" y="4051951"/>
            <a:ext cx="2329763" cy="6118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Partnership</a:t>
            </a:r>
          </a:p>
        </p:txBody>
      </p:sp>
      <p:sp>
        <p:nvSpPr>
          <p:cNvPr id="34" name="Titolo 1">
            <a:extLst>
              <a:ext uri="{FF2B5EF4-FFF2-40B4-BE49-F238E27FC236}">
                <a16:creationId xmlns:a16="http://schemas.microsoft.com/office/drawing/2014/main" id="{DDEBA3F2-5AAB-4A29-92A0-C20729058CE4}"/>
              </a:ext>
            </a:extLst>
          </p:cNvPr>
          <p:cNvSpPr txBox="1">
            <a:spLocks/>
          </p:cNvSpPr>
          <p:nvPr/>
        </p:nvSpPr>
        <p:spPr>
          <a:xfrm>
            <a:off x="5035565" y="4051951"/>
            <a:ext cx="4535213" cy="61184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571500" indent="-5715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 sz="2800" b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406B9B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26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Aziende</a:t>
            </a:r>
          </a:p>
        </p:txBody>
      </p:sp>
      <p:sp>
        <p:nvSpPr>
          <p:cNvPr id="35" name="Titolo 1">
            <a:extLst>
              <a:ext uri="{FF2B5EF4-FFF2-40B4-BE49-F238E27FC236}">
                <a16:creationId xmlns:a16="http://schemas.microsoft.com/office/drawing/2014/main" id="{6E8CD523-9590-46CE-BFA0-5D9F3B92861C}"/>
              </a:ext>
            </a:extLst>
          </p:cNvPr>
          <p:cNvSpPr txBox="1">
            <a:spLocks/>
          </p:cNvSpPr>
          <p:nvPr/>
        </p:nvSpPr>
        <p:spPr>
          <a:xfrm>
            <a:off x="229272" y="5538671"/>
            <a:ext cx="2633025" cy="6118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1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Acceleratori</a:t>
            </a:r>
          </a:p>
        </p:txBody>
      </p:sp>
      <p:sp>
        <p:nvSpPr>
          <p:cNvPr id="36" name="Titolo 1">
            <a:extLst>
              <a:ext uri="{FF2B5EF4-FFF2-40B4-BE49-F238E27FC236}">
                <a16:creationId xmlns:a16="http://schemas.microsoft.com/office/drawing/2014/main" id="{58E70652-50CE-4B92-9FA1-C3101A86A1EC}"/>
              </a:ext>
            </a:extLst>
          </p:cNvPr>
          <p:cNvSpPr txBox="1">
            <a:spLocks/>
          </p:cNvSpPr>
          <p:nvPr/>
        </p:nvSpPr>
        <p:spPr>
          <a:xfrm>
            <a:off x="5035565" y="5538671"/>
            <a:ext cx="7722747" cy="61184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571500" indent="-5715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 sz="2800" b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406B9B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1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Opportunità di crescita e</a:t>
            </a:r>
            <a:r>
              <a:rPr kumimoji="0" lang="it-IT" sz="2800" b="1" i="0" u="none" strike="noStrike" kern="1200" cap="none" spc="0" normalizeH="0" noProof="0" dirty="0">
                <a:ln>
                  <a:noFill/>
                </a:ln>
                <a:solidFill>
                  <a:schemeClr val="accent1">
                    <a:lumMod val="1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 incontro</a:t>
            </a:r>
            <a:endParaRPr kumimoji="0" lang="it-IT" sz="28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10000"/>
                </a:schemeClr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pic>
        <p:nvPicPr>
          <p:cNvPr id="38" name="Immagine 37">
            <a:extLst>
              <a:ext uri="{FF2B5EF4-FFF2-40B4-BE49-F238E27FC236}">
                <a16:creationId xmlns:a16="http://schemas.microsoft.com/office/drawing/2014/main" id="{B770E661-2609-4E9B-B21C-AD09457162CD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lumMod val="10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encil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4331" y="3759640"/>
            <a:ext cx="952154" cy="849614"/>
          </a:xfrm>
          <a:prstGeom prst="rect">
            <a:avLst/>
          </a:prstGeom>
        </p:spPr>
      </p:pic>
      <p:pic>
        <p:nvPicPr>
          <p:cNvPr id="39" name="Immagine 38">
            <a:extLst>
              <a:ext uri="{FF2B5EF4-FFF2-40B4-BE49-F238E27FC236}">
                <a16:creationId xmlns:a16="http://schemas.microsoft.com/office/drawing/2014/main" id="{23AFEDED-7DFA-4236-A2AE-18F8982C9D71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9906" y="5361453"/>
            <a:ext cx="1031983" cy="966279"/>
          </a:xfrm>
          <a:prstGeom prst="rect">
            <a:avLst/>
          </a:prstGeom>
        </p:spPr>
      </p:pic>
      <p:cxnSp>
        <p:nvCxnSpPr>
          <p:cNvPr id="40" name="Connettore diritto 39">
            <a:extLst>
              <a:ext uri="{FF2B5EF4-FFF2-40B4-BE49-F238E27FC236}">
                <a16:creationId xmlns:a16="http://schemas.microsoft.com/office/drawing/2014/main" id="{0CC7EFD6-B93A-4A8A-9804-645D9E9087E4}"/>
              </a:ext>
            </a:extLst>
          </p:cNvPr>
          <p:cNvCxnSpPr/>
          <p:nvPr/>
        </p:nvCxnSpPr>
        <p:spPr>
          <a:xfrm>
            <a:off x="-236485" y="3472068"/>
            <a:ext cx="12722773" cy="0"/>
          </a:xfrm>
          <a:prstGeom prst="line">
            <a:avLst/>
          </a:prstGeom>
          <a:ln>
            <a:solidFill>
              <a:srgbClr val="406B9B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tolo 1">
            <a:extLst>
              <a:ext uri="{FF2B5EF4-FFF2-40B4-BE49-F238E27FC236}">
                <a16:creationId xmlns:a16="http://schemas.microsoft.com/office/drawing/2014/main" id="{CA3316E5-17D7-454B-90D2-C39DED61E427}"/>
              </a:ext>
            </a:extLst>
          </p:cNvPr>
          <p:cNvSpPr txBox="1">
            <a:spLocks/>
          </p:cNvSpPr>
          <p:nvPr/>
        </p:nvSpPr>
        <p:spPr>
          <a:xfrm>
            <a:off x="5035565" y="821347"/>
            <a:ext cx="7156435" cy="396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indent="-571500">
              <a:buClr>
                <a:srgbClr val="406B9B"/>
              </a:buClr>
              <a:buFont typeface="Wingdings" panose="05000000000000000000" pitchFamily="2" charset="2"/>
              <a:buChar char="Ø"/>
            </a:pPr>
            <a:r>
              <a:rPr lang="it-IT" sz="2600" dirty="0">
                <a:solidFill>
                  <a:srgbClr val="406B9B"/>
                </a:solidFill>
              </a:rPr>
              <a:t>Family and friends</a:t>
            </a:r>
          </a:p>
        </p:txBody>
      </p:sp>
      <p:sp>
        <p:nvSpPr>
          <p:cNvPr id="42" name="Titolo 1">
            <a:extLst>
              <a:ext uri="{FF2B5EF4-FFF2-40B4-BE49-F238E27FC236}">
                <a16:creationId xmlns:a16="http://schemas.microsoft.com/office/drawing/2014/main" id="{3D246E24-EDC1-4F7A-85F6-80D30CEFC064}"/>
              </a:ext>
            </a:extLst>
          </p:cNvPr>
          <p:cNvSpPr txBox="1">
            <a:spLocks/>
          </p:cNvSpPr>
          <p:nvPr/>
        </p:nvSpPr>
        <p:spPr>
          <a:xfrm>
            <a:off x="5035564" y="1733687"/>
            <a:ext cx="5857163" cy="396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indent="-571500">
              <a:buClr>
                <a:srgbClr val="406B9B"/>
              </a:buClr>
              <a:buFont typeface="Wingdings" panose="05000000000000000000" pitchFamily="2" charset="2"/>
              <a:buChar char="Ø"/>
            </a:pPr>
            <a:r>
              <a:rPr lang="it-IT" sz="2600" dirty="0">
                <a:solidFill>
                  <a:srgbClr val="406B9B"/>
                </a:solidFill>
              </a:rPr>
              <a:t>VC</a:t>
            </a:r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BD835ADA-DEF2-4C00-AF51-A581356139B4}"/>
              </a:ext>
            </a:extLst>
          </p:cNvPr>
          <p:cNvSpPr/>
          <p:nvPr/>
        </p:nvSpPr>
        <p:spPr>
          <a:xfrm>
            <a:off x="5035565" y="1277517"/>
            <a:ext cx="3818674" cy="396000"/>
          </a:xfrm>
          <a:prstGeom prst="rect">
            <a:avLst/>
          </a:prstGeom>
        </p:spPr>
        <p:txBody>
          <a:bodyPr anchor="ctr"/>
          <a:lstStyle/>
          <a:p>
            <a:pPr marL="571500" indent="-571500">
              <a:lnSpc>
                <a:spcPct val="90000"/>
              </a:lnSpc>
              <a:spcBef>
                <a:spcPct val="0"/>
              </a:spcBef>
              <a:buClr>
                <a:srgbClr val="406B9B"/>
              </a:buClr>
              <a:buFont typeface="Wingdings" panose="05000000000000000000" pitchFamily="2" charset="2"/>
              <a:buChar char="Ø"/>
            </a:pPr>
            <a:r>
              <a:rPr lang="it-IT" sz="2600" b="1" dirty="0">
                <a:solidFill>
                  <a:srgbClr val="406B9B"/>
                </a:solidFill>
                <a:latin typeface="Century Gothic" panose="020B0502020202020204" pitchFamily="34" charset="0"/>
                <a:ea typeface="+mj-ea"/>
                <a:cs typeface="+mj-cs"/>
              </a:rPr>
              <a:t>Business Angel</a:t>
            </a:r>
          </a:p>
        </p:txBody>
      </p:sp>
      <p:sp>
        <p:nvSpPr>
          <p:cNvPr id="44" name="Titolo 1">
            <a:extLst>
              <a:ext uri="{FF2B5EF4-FFF2-40B4-BE49-F238E27FC236}">
                <a16:creationId xmlns:a16="http://schemas.microsoft.com/office/drawing/2014/main" id="{1F3C7441-6870-477F-9C14-957F649FEE8B}"/>
              </a:ext>
            </a:extLst>
          </p:cNvPr>
          <p:cNvSpPr txBox="1">
            <a:spLocks/>
          </p:cNvSpPr>
          <p:nvPr/>
        </p:nvSpPr>
        <p:spPr>
          <a:xfrm>
            <a:off x="5035564" y="2189857"/>
            <a:ext cx="5857163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406B9B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2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Banche</a:t>
            </a:r>
          </a:p>
        </p:txBody>
      </p:sp>
      <p:sp>
        <p:nvSpPr>
          <p:cNvPr id="45" name="Titolo 1">
            <a:extLst>
              <a:ext uri="{FF2B5EF4-FFF2-40B4-BE49-F238E27FC236}">
                <a16:creationId xmlns:a16="http://schemas.microsoft.com/office/drawing/2014/main" id="{53F81AB1-1950-4A40-9FDE-2A655AA8DD27}"/>
              </a:ext>
            </a:extLst>
          </p:cNvPr>
          <p:cNvSpPr txBox="1">
            <a:spLocks/>
          </p:cNvSpPr>
          <p:nvPr/>
        </p:nvSpPr>
        <p:spPr>
          <a:xfrm>
            <a:off x="5035564" y="2646028"/>
            <a:ext cx="5857163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406B9B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2600" b="1" i="0" u="none" strike="noStrike" kern="1200" cap="none" spc="0" normalizeH="0" baseline="0" noProof="0" dirty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Equity Crowdfunding</a:t>
            </a:r>
          </a:p>
        </p:txBody>
      </p:sp>
      <p:cxnSp>
        <p:nvCxnSpPr>
          <p:cNvPr id="47" name="Connettore diritto 46">
            <a:extLst>
              <a:ext uri="{FF2B5EF4-FFF2-40B4-BE49-F238E27FC236}">
                <a16:creationId xmlns:a16="http://schemas.microsoft.com/office/drawing/2014/main" id="{04CEADAA-809F-4C79-BB55-D6B2368157DC}"/>
              </a:ext>
            </a:extLst>
          </p:cNvPr>
          <p:cNvCxnSpPr/>
          <p:nvPr/>
        </p:nvCxnSpPr>
        <p:spPr>
          <a:xfrm>
            <a:off x="-367864" y="5011833"/>
            <a:ext cx="12722773" cy="0"/>
          </a:xfrm>
          <a:prstGeom prst="line">
            <a:avLst/>
          </a:prstGeom>
          <a:ln>
            <a:solidFill>
              <a:srgbClr val="406B9B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D6026040-05A7-4163-B1C1-A0EADE251A33}"/>
              </a:ext>
            </a:extLst>
          </p:cNvPr>
          <p:cNvSpPr txBox="1"/>
          <p:nvPr/>
        </p:nvSpPr>
        <p:spPr>
          <a:xfrm>
            <a:off x="5035565" y="3225986"/>
            <a:ext cx="1759373" cy="478912"/>
          </a:xfrm>
          <a:prstGeom prst="rect">
            <a:avLst/>
          </a:prstGeom>
          <a:solidFill>
            <a:srgbClr val="F9FBFB"/>
          </a:solidFill>
        </p:spPr>
        <p:txBody>
          <a:bodyPr/>
          <a:lstStyle>
            <a:defPPr>
              <a:defRPr lang="it-IT"/>
            </a:defPPr>
            <a:lvl1pPr marL="571500" indent="-5715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 sz="2800" b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406B9B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2600" b="1" i="0" u="none" strike="noStrike" kern="1200" cap="none" spc="0" normalizeH="0" baseline="0" noProof="0" dirty="0" err="1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Cvc</a:t>
            </a:r>
            <a:endParaRPr kumimoji="0" lang="it-IT" sz="2600" b="1" i="0" u="none" strike="noStrike" kern="1200" cap="none" spc="0" normalizeH="0" baseline="0" noProof="0" dirty="0">
              <a:ln>
                <a:noFill/>
              </a:ln>
              <a:solidFill>
                <a:srgbClr val="406B9B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77962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magine 22">
            <a:extLst>
              <a:ext uri="{FF2B5EF4-FFF2-40B4-BE49-F238E27FC236}">
                <a16:creationId xmlns:a16="http://schemas.microsoft.com/office/drawing/2014/main" id="{20ED8DA6-1D46-494A-BA24-42F9C5770A3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0" r="300"/>
          <a:stretch/>
        </p:blipFill>
        <p:spPr>
          <a:xfrm>
            <a:off x="91" y="1"/>
            <a:ext cx="12191821" cy="6164709"/>
          </a:xfrm>
          <a:prstGeom prst="rect">
            <a:avLst/>
          </a:prstGeom>
        </p:spPr>
      </p:pic>
      <p:sp>
        <p:nvSpPr>
          <p:cNvPr id="32" name="Titolo 1">
            <a:extLst>
              <a:ext uri="{FF2B5EF4-FFF2-40B4-BE49-F238E27FC236}">
                <a16:creationId xmlns:a16="http://schemas.microsoft.com/office/drawing/2014/main" id="{38CFF702-DE2D-C546-8222-18D1BEBB226E}"/>
              </a:ext>
            </a:extLst>
          </p:cNvPr>
          <p:cNvSpPr txBox="1">
            <a:spLocks/>
          </p:cNvSpPr>
          <p:nvPr/>
        </p:nvSpPr>
        <p:spPr>
          <a:xfrm>
            <a:off x="544067" y="374651"/>
            <a:ext cx="10363047" cy="545042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398" b="1" kern="1200">
                <a:solidFill>
                  <a:srgbClr val="003A79"/>
                </a:solidFill>
                <a:latin typeface="Century Gothic" pitchFamily="34" charset="0"/>
                <a:ea typeface="+mj-ea"/>
                <a:cs typeface="Arial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5pPr>
            <a:lvl6pPr marL="597469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6pPr>
            <a:lvl7pPr marL="1194938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7pPr>
            <a:lvl8pPr marL="1792407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8pPr>
            <a:lvl9pPr marL="2389876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32962">
              <a:defRPr/>
            </a:pPr>
            <a:endParaRPr lang="it-IT" sz="2857" dirty="0"/>
          </a:p>
        </p:txBody>
      </p:sp>
      <p:pic>
        <p:nvPicPr>
          <p:cNvPr id="20" name="Immagine 19">
            <a:extLst>
              <a:ext uri="{FF2B5EF4-FFF2-40B4-BE49-F238E27FC236}">
                <a16:creationId xmlns:a16="http://schemas.microsoft.com/office/drawing/2014/main" id="{74D3CF56-6B54-4451-AB7A-B9DAFF5C3EF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7273" y="1342315"/>
            <a:ext cx="1250378" cy="1250378"/>
          </a:xfrm>
          <a:prstGeom prst="rect">
            <a:avLst/>
          </a:prstGeom>
        </p:spPr>
      </p:pic>
      <p:sp>
        <p:nvSpPr>
          <p:cNvPr id="24" name="Titolo 1">
            <a:extLst>
              <a:ext uri="{FF2B5EF4-FFF2-40B4-BE49-F238E27FC236}">
                <a16:creationId xmlns:a16="http://schemas.microsoft.com/office/drawing/2014/main" id="{205CD322-395B-452B-A6ED-38199D42944E}"/>
              </a:ext>
            </a:extLst>
          </p:cNvPr>
          <p:cNvSpPr txBox="1">
            <a:spLocks/>
          </p:cNvSpPr>
          <p:nvPr/>
        </p:nvSpPr>
        <p:spPr>
          <a:xfrm>
            <a:off x="325821" y="160667"/>
            <a:ext cx="11072648" cy="6118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CHI CERCA UNA STARTUP</a:t>
            </a:r>
          </a:p>
        </p:txBody>
      </p:sp>
      <p:sp>
        <p:nvSpPr>
          <p:cNvPr id="25" name="Titolo 1">
            <a:extLst>
              <a:ext uri="{FF2B5EF4-FFF2-40B4-BE49-F238E27FC236}">
                <a16:creationId xmlns:a16="http://schemas.microsoft.com/office/drawing/2014/main" id="{DC9AFEAE-28CF-45A6-9832-E345B25E0289}"/>
              </a:ext>
            </a:extLst>
          </p:cNvPr>
          <p:cNvSpPr txBox="1">
            <a:spLocks/>
          </p:cNvSpPr>
          <p:nvPr/>
        </p:nvSpPr>
        <p:spPr>
          <a:xfrm>
            <a:off x="251562" y="1764871"/>
            <a:ext cx="2588445" cy="6118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Money </a:t>
            </a:r>
          </a:p>
        </p:txBody>
      </p:sp>
      <p:sp>
        <p:nvSpPr>
          <p:cNvPr id="33" name="Titolo 1">
            <a:extLst>
              <a:ext uri="{FF2B5EF4-FFF2-40B4-BE49-F238E27FC236}">
                <a16:creationId xmlns:a16="http://schemas.microsoft.com/office/drawing/2014/main" id="{D539AE35-794A-4557-8EDF-3F905E81465F}"/>
              </a:ext>
            </a:extLst>
          </p:cNvPr>
          <p:cNvSpPr txBox="1">
            <a:spLocks/>
          </p:cNvSpPr>
          <p:nvPr/>
        </p:nvSpPr>
        <p:spPr>
          <a:xfrm>
            <a:off x="380903" y="4051951"/>
            <a:ext cx="2329763" cy="6118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Partnership</a:t>
            </a:r>
          </a:p>
        </p:txBody>
      </p:sp>
      <p:sp>
        <p:nvSpPr>
          <p:cNvPr id="34" name="Titolo 1">
            <a:extLst>
              <a:ext uri="{FF2B5EF4-FFF2-40B4-BE49-F238E27FC236}">
                <a16:creationId xmlns:a16="http://schemas.microsoft.com/office/drawing/2014/main" id="{DDEBA3F2-5AAB-4A29-92A0-C20729058CE4}"/>
              </a:ext>
            </a:extLst>
          </p:cNvPr>
          <p:cNvSpPr txBox="1">
            <a:spLocks/>
          </p:cNvSpPr>
          <p:nvPr/>
        </p:nvSpPr>
        <p:spPr>
          <a:xfrm>
            <a:off x="5035565" y="4051951"/>
            <a:ext cx="4535213" cy="61184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571500" indent="-5715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 sz="2800" b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406B9B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2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Aziende</a:t>
            </a:r>
          </a:p>
        </p:txBody>
      </p:sp>
      <p:sp>
        <p:nvSpPr>
          <p:cNvPr id="35" name="Titolo 1">
            <a:extLst>
              <a:ext uri="{FF2B5EF4-FFF2-40B4-BE49-F238E27FC236}">
                <a16:creationId xmlns:a16="http://schemas.microsoft.com/office/drawing/2014/main" id="{6E8CD523-9590-46CE-BFA0-5D9F3B92861C}"/>
              </a:ext>
            </a:extLst>
          </p:cNvPr>
          <p:cNvSpPr txBox="1">
            <a:spLocks/>
          </p:cNvSpPr>
          <p:nvPr/>
        </p:nvSpPr>
        <p:spPr>
          <a:xfrm>
            <a:off x="229272" y="5538671"/>
            <a:ext cx="2633025" cy="6118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1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Acceleratori</a:t>
            </a:r>
          </a:p>
        </p:txBody>
      </p:sp>
      <p:sp>
        <p:nvSpPr>
          <p:cNvPr id="36" name="Titolo 1">
            <a:extLst>
              <a:ext uri="{FF2B5EF4-FFF2-40B4-BE49-F238E27FC236}">
                <a16:creationId xmlns:a16="http://schemas.microsoft.com/office/drawing/2014/main" id="{58E70652-50CE-4B92-9FA1-C3101A86A1EC}"/>
              </a:ext>
            </a:extLst>
          </p:cNvPr>
          <p:cNvSpPr txBox="1">
            <a:spLocks/>
          </p:cNvSpPr>
          <p:nvPr/>
        </p:nvSpPr>
        <p:spPr>
          <a:xfrm>
            <a:off x="5035565" y="5538671"/>
            <a:ext cx="7722747" cy="61184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571500" indent="-5715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 sz="2800" b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406B9B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Opportunità di crescita e</a:t>
            </a:r>
            <a:r>
              <a:rPr kumimoji="0" lang="it-IT" sz="2800" b="1" i="0" u="none" strike="noStrike" kern="120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 incontro</a:t>
            </a:r>
            <a:endParaRPr kumimoji="0" lang="it-IT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pic>
        <p:nvPicPr>
          <p:cNvPr id="38" name="Immagine 37">
            <a:extLst>
              <a:ext uri="{FF2B5EF4-FFF2-40B4-BE49-F238E27FC236}">
                <a16:creationId xmlns:a16="http://schemas.microsoft.com/office/drawing/2014/main" id="{B770E661-2609-4E9B-B21C-AD09457162CD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lumMod val="10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encil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4331" y="3759640"/>
            <a:ext cx="952154" cy="849614"/>
          </a:xfrm>
          <a:prstGeom prst="rect">
            <a:avLst/>
          </a:prstGeom>
        </p:spPr>
      </p:pic>
      <p:pic>
        <p:nvPicPr>
          <p:cNvPr id="39" name="Immagine 38">
            <a:extLst>
              <a:ext uri="{FF2B5EF4-FFF2-40B4-BE49-F238E27FC236}">
                <a16:creationId xmlns:a16="http://schemas.microsoft.com/office/drawing/2014/main" id="{23AFEDED-7DFA-4236-A2AE-18F8982C9D71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9906" y="5361453"/>
            <a:ext cx="1031983" cy="966279"/>
          </a:xfrm>
          <a:prstGeom prst="rect">
            <a:avLst/>
          </a:prstGeom>
        </p:spPr>
      </p:pic>
      <p:cxnSp>
        <p:nvCxnSpPr>
          <p:cNvPr id="40" name="Connettore diritto 39">
            <a:extLst>
              <a:ext uri="{FF2B5EF4-FFF2-40B4-BE49-F238E27FC236}">
                <a16:creationId xmlns:a16="http://schemas.microsoft.com/office/drawing/2014/main" id="{0CC7EFD6-B93A-4A8A-9804-645D9E9087E4}"/>
              </a:ext>
            </a:extLst>
          </p:cNvPr>
          <p:cNvCxnSpPr/>
          <p:nvPr/>
        </p:nvCxnSpPr>
        <p:spPr>
          <a:xfrm>
            <a:off x="-236485" y="3472068"/>
            <a:ext cx="12722773" cy="0"/>
          </a:xfrm>
          <a:prstGeom prst="line">
            <a:avLst/>
          </a:prstGeom>
          <a:ln>
            <a:solidFill>
              <a:srgbClr val="406B9B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tolo 1">
            <a:extLst>
              <a:ext uri="{FF2B5EF4-FFF2-40B4-BE49-F238E27FC236}">
                <a16:creationId xmlns:a16="http://schemas.microsoft.com/office/drawing/2014/main" id="{CA3316E5-17D7-454B-90D2-C39DED61E427}"/>
              </a:ext>
            </a:extLst>
          </p:cNvPr>
          <p:cNvSpPr txBox="1">
            <a:spLocks/>
          </p:cNvSpPr>
          <p:nvPr/>
        </p:nvSpPr>
        <p:spPr>
          <a:xfrm>
            <a:off x="5035565" y="821347"/>
            <a:ext cx="7156435" cy="396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indent="-571500">
              <a:buClr>
                <a:srgbClr val="406B9B"/>
              </a:buClr>
              <a:buFont typeface="Wingdings" panose="05000000000000000000" pitchFamily="2" charset="2"/>
              <a:buChar char="Ø"/>
            </a:pPr>
            <a:r>
              <a:rPr lang="it-IT" sz="2600" dirty="0">
                <a:solidFill>
                  <a:srgbClr val="406B9B"/>
                </a:solidFill>
              </a:rPr>
              <a:t>Family and friends</a:t>
            </a:r>
          </a:p>
        </p:txBody>
      </p:sp>
      <p:sp>
        <p:nvSpPr>
          <p:cNvPr id="42" name="Titolo 1">
            <a:extLst>
              <a:ext uri="{FF2B5EF4-FFF2-40B4-BE49-F238E27FC236}">
                <a16:creationId xmlns:a16="http://schemas.microsoft.com/office/drawing/2014/main" id="{3D246E24-EDC1-4F7A-85F6-80D30CEFC064}"/>
              </a:ext>
            </a:extLst>
          </p:cNvPr>
          <p:cNvSpPr txBox="1">
            <a:spLocks/>
          </p:cNvSpPr>
          <p:nvPr/>
        </p:nvSpPr>
        <p:spPr>
          <a:xfrm>
            <a:off x="5035564" y="1733687"/>
            <a:ext cx="5857163" cy="396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indent="-571500">
              <a:buClr>
                <a:srgbClr val="406B9B"/>
              </a:buClr>
              <a:buFont typeface="Wingdings" panose="05000000000000000000" pitchFamily="2" charset="2"/>
              <a:buChar char="Ø"/>
            </a:pPr>
            <a:r>
              <a:rPr lang="it-IT" sz="2600" dirty="0">
                <a:solidFill>
                  <a:srgbClr val="FF0000"/>
                </a:solidFill>
              </a:rPr>
              <a:t>VC</a:t>
            </a:r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BD835ADA-DEF2-4C00-AF51-A581356139B4}"/>
              </a:ext>
            </a:extLst>
          </p:cNvPr>
          <p:cNvSpPr/>
          <p:nvPr/>
        </p:nvSpPr>
        <p:spPr>
          <a:xfrm>
            <a:off x="5035565" y="1277517"/>
            <a:ext cx="3818674" cy="396000"/>
          </a:xfrm>
          <a:prstGeom prst="rect">
            <a:avLst/>
          </a:prstGeom>
        </p:spPr>
        <p:txBody>
          <a:bodyPr anchor="ctr"/>
          <a:lstStyle/>
          <a:p>
            <a:pPr marL="571500" indent="-571500">
              <a:lnSpc>
                <a:spcPct val="90000"/>
              </a:lnSpc>
              <a:spcBef>
                <a:spcPct val="0"/>
              </a:spcBef>
              <a:buClr>
                <a:srgbClr val="406B9B"/>
              </a:buClr>
              <a:buFont typeface="Wingdings" panose="05000000000000000000" pitchFamily="2" charset="2"/>
              <a:buChar char="Ø"/>
            </a:pPr>
            <a:r>
              <a:rPr lang="it-IT" sz="2600" b="1" dirty="0">
                <a:solidFill>
                  <a:srgbClr val="406B9B"/>
                </a:solidFill>
                <a:latin typeface="Century Gothic" panose="020B0502020202020204" pitchFamily="34" charset="0"/>
                <a:ea typeface="+mj-ea"/>
                <a:cs typeface="+mj-cs"/>
              </a:rPr>
              <a:t>Business Angel</a:t>
            </a:r>
          </a:p>
        </p:txBody>
      </p:sp>
      <p:sp>
        <p:nvSpPr>
          <p:cNvPr id="44" name="Titolo 1">
            <a:extLst>
              <a:ext uri="{FF2B5EF4-FFF2-40B4-BE49-F238E27FC236}">
                <a16:creationId xmlns:a16="http://schemas.microsoft.com/office/drawing/2014/main" id="{1F3C7441-6870-477F-9C14-957F649FEE8B}"/>
              </a:ext>
            </a:extLst>
          </p:cNvPr>
          <p:cNvSpPr txBox="1">
            <a:spLocks/>
          </p:cNvSpPr>
          <p:nvPr/>
        </p:nvSpPr>
        <p:spPr>
          <a:xfrm>
            <a:off x="5035564" y="2189857"/>
            <a:ext cx="5857163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406B9B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2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Banche</a:t>
            </a:r>
          </a:p>
        </p:txBody>
      </p:sp>
      <p:sp>
        <p:nvSpPr>
          <p:cNvPr id="45" name="Titolo 1">
            <a:extLst>
              <a:ext uri="{FF2B5EF4-FFF2-40B4-BE49-F238E27FC236}">
                <a16:creationId xmlns:a16="http://schemas.microsoft.com/office/drawing/2014/main" id="{53F81AB1-1950-4A40-9FDE-2A655AA8DD27}"/>
              </a:ext>
            </a:extLst>
          </p:cNvPr>
          <p:cNvSpPr txBox="1">
            <a:spLocks/>
          </p:cNvSpPr>
          <p:nvPr/>
        </p:nvSpPr>
        <p:spPr>
          <a:xfrm>
            <a:off x="5035564" y="2646028"/>
            <a:ext cx="5857163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406B9B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2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Equity Crowdfunding</a:t>
            </a:r>
          </a:p>
        </p:txBody>
      </p:sp>
      <p:cxnSp>
        <p:nvCxnSpPr>
          <p:cNvPr id="47" name="Connettore diritto 46">
            <a:extLst>
              <a:ext uri="{FF2B5EF4-FFF2-40B4-BE49-F238E27FC236}">
                <a16:creationId xmlns:a16="http://schemas.microsoft.com/office/drawing/2014/main" id="{04CEADAA-809F-4C79-BB55-D6B2368157DC}"/>
              </a:ext>
            </a:extLst>
          </p:cNvPr>
          <p:cNvCxnSpPr/>
          <p:nvPr/>
        </p:nvCxnSpPr>
        <p:spPr>
          <a:xfrm>
            <a:off x="-367864" y="5011833"/>
            <a:ext cx="12722773" cy="0"/>
          </a:xfrm>
          <a:prstGeom prst="line">
            <a:avLst/>
          </a:prstGeom>
          <a:ln>
            <a:solidFill>
              <a:srgbClr val="406B9B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D6026040-05A7-4163-B1C1-A0EADE251A33}"/>
              </a:ext>
            </a:extLst>
          </p:cNvPr>
          <p:cNvSpPr txBox="1"/>
          <p:nvPr/>
        </p:nvSpPr>
        <p:spPr>
          <a:xfrm>
            <a:off x="5035565" y="3225986"/>
            <a:ext cx="1759373" cy="478912"/>
          </a:xfrm>
          <a:prstGeom prst="rect">
            <a:avLst/>
          </a:prstGeom>
          <a:solidFill>
            <a:srgbClr val="F9FBFB"/>
          </a:solidFill>
        </p:spPr>
        <p:txBody>
          <a:bodyPr/>
          <a:lstStyle>
            <a:defPPr>
              <a:defRPr lang="it-IT"/>
            </a:defPPr>
            <a:lvl1pPr marL="571500" indent="-5715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 sz="2800" b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571500" marR="0" lvl="0" indent="-5715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406B9B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2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Cvc</a:t>
            </a:r>
            <a:endParaRPr kumimoji="0" lang="it-IT" sz="2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413241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" name="image17.jpe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10"/>
          <a:stretch/>
        </p:blipFill>
        <p:spPr>
          <a:xfrm>
            <a:off x="4642201" y="0"/>
            <a:ext cx="7549710" cy="6200504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Rettangolo 17">
            <a:extLst>
              <a:ext uri="{FF2B5EF4-FFF2-40B4-BE49-F238E27FC236}">
                <a16:creationId xmlns:a16="http://schemas.microsoft.com/office/drawing/2014/main" id="{21548D9A-EF28-F44B-8B6D-55B1C9556FC1}"/>
              </a:ext>
            </a:extLst>
          </p:cNvPr>
          <p:cNvSpPr/>
          <p:nvPr/>
        </p:nvSpPr>
        <p:spPr>
          <a:xfrm>
            <a:off x="4642201" y="-7658"/>
            <a:ext cx="5012748" cy="6317439"/>
          </a:xfrm>
          <a:prstGeom prst="rect">
            <a:avLst/>
          </a:prstGeom>
          <a:gradFill>
            <a:gsLst>
              <a:gs pos="0">
                <a:schemeClr val="bg1"/>
              </a:gs>
              <a:gs pos="83000">
                <a:schemeClr val="bg1">
                  <a:alpha val="0"/>
                </a:scheme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632" err="1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Box 43">
            <a:extLst>
              <a:ext uri="{FF2B5EF4-FFF2-40B4-BE49-F238E27FC236}">
                <a16:creationId xmlns:a16="http://schemas.microsoft.com/office/drawing/2014/main" id="{A6B64F35-5342-46FE-9BCF-94C85A9B8B63}"/>
              </a:ext>
            </a:extLst>
          </p:cNvPr>
          <p:cNvSpPr txBox="1"/>
          <p:nvPr/>
        </p:nvSpPr>
        <p:spPr bwMode="gray">
          <a:xfrm>
            <a:off x="942821" y="1446803"/>
            <a:ext cx="5647895" cy="415103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13526" fontAlgn="base">
              <a:lnSpc>
                <a:spcPct val="120000"/>
              </a:lnSpc>
              <a:spcBef>
                <a:spcPts val="1224"/>
              </a:spcBef>
              <a:spcAft>
                <a:spcPct val="0"/>
              </a:spcAft>
              <a:buClr>
                <a:srgbClr val="003A79"/>
              </a:buClr>
              <a:defRPr/>
            </a:pPr>
            <a:r>
              <a:rPr lang="it-IT" sz="2041" i="1">
                <a:solidFill>
                  <a:srgbClr val="000000"/>
                </a:solidFill>
                <a:latin typeface="Century Gothic"/>
              </a:rPr>
              <a:t>Intesa Sanpaolo Innovation Center </a:t>
            </a:r>
            <a:br>
              <a:rPr lang="it-IT" sz="2041" i="1">
                <a:solidFill>
                  <a:srgbClr val="000000"/>
                </a:solidFill>
                <a:latin typeface="Century Gothic"/>
              </a:rPr>
            </a:br>
            <a:r>
              <a:rPr lang="it-IT" sz="2041" i="1">
                <a:solidFill>
                  <a:srgbClr val="000000"/>
                </a:solidFill>
                <a:latin typeface="Century Gothic"/>
              </a:rPr>
              <a:t>è la società del Gruppo Intesa Sanpaolo dedicata alla </a:t>
            </a:r>
            <a:r>
              <a:rPr lang="it-IT" sz="2041" b="1" i="1">
                <a:solidFill>
                  <a:srgbClr val="406B9B"/>
                </a:solidFill>
                <a:latin typeface="Century Gothic"/>
              </a:rPr>
              <a:t>frontiera dell’innovazione</a:t>
            </a:r>
            <a:r>
              <a:rPr lang="it-IT" sz="2041" i="1">
                <a:solidFill>
                  <a:srgbClr val="000000"/>
                </a:solidFill>
                <a:latin typeface="Century Gothic"/>
              </a:rPr>
              <a:t>: esplora </a:t>
            </a:r>
            <a:r>
              <a:rPr lang="it-IT" sz="2041" b="1" i="1">
                <a:solidFill>
                  <a:srgbClr val="406B9B"/>
                </a:solidFill>
                <a:latin typeface="Century Gothic"/>
              </a:rPr>
              <a:t>scenari</a:t>
            </a:r>
            <a:r>
              <a:rPr lang="it-IT" sz="2041" i="1">
                <a:solidFill>
                  <a:srgbClr val="000000"/>
                </a:solidFill>
                <a:latin typeface="Century Gothic"/>
              </a:rPr>
              <a:t> e </a:t>
            </a:r>
            <a:r>
              <a:rPr lang="it-IT" sz="2041" b="1" i="1">
                <a:solidFill>
                  <a:srgbClr val="406B9B"/>
                </a:solidFill>
                <a:latin typeface="Century Gothic"/>
              </a:rPr>
              <a:t>tendenze future</a:t>
            </a:r>
            <a:r>
              <a:rPr lang="it-IT" sz="2041" i="1">
                <a:solidFill>
                  <a:srgbClr val="000000"/>
                </a:solidFill>
                <a:latin typeface="Century Gothic"/>
              </a:rPr>
              <a:t>, </a:t>
            </a:r>
            <a:br>
              <a:rPr lang="it-IT" sz="2041" i="1">
                <a:solidFill>
                  <a:srgbClr val="000000"/>
                </a:solidFill>
                <a:latin typeface="Century Gothic"/>
              </a:rPr>
            </a:br>
            <a:r>
              <a:rPr lang="it-IT" sz="2041" i="1">
                <a:solidFill>
                  <a:srgbClr val="000000"/>
                </a:solidFill>
                <a:latin typeface="Century Gothic"/>
              </a:rPr>
              <a:t>sviluppa progetti di </a:t>
            </a:r>
            <a:r>
              <a:rPr lang="it-IT" sz="2041" b="1" i="1">
                <a:solidFill>
                  <a:srgbClr val="406B9B"/>
                </a:solidFill>
                <a:latin typeface="Century Gothic"/>
              </a:rPr>
              <a:t>ricerca applicata</a:t>
            </a:r>
            <a:r>
              <a:rPr lang="it-IT" sz="2041" i="1">
                <a:solidFill>
                  <a:srgbClr val="000000"/>
                </a:solidFill>
                <a:latin typeface="Century Gothic"/>
              </a:rPr>
              <a:t>, </a:t>
            </a:r>
            <a:br>
              <a:rPr lang="it-IT" sz="2041" i="1">
                <a:solidFill>
                  <a:srgbClr val="000000"/>
                </a:solidFill>
                <a:latin typeface="Century Gothic"/>
              </a:rPr>
            </a:br>
            <a:r>
              <a:rPr lang="it-IT" sz="2041" i="1">
                <a:solidFill>
                  <a:srgbClr val="000000"/>
                </a:solidFill>
                <a:latin typeface="Century Gothic"/>
              </a:rPr>
              <a:t>supporta </a:t>
            </a:r>
            <a:r>
              <a:rPr lang="it-IT" sz="2041" b="1" i="1">
                <a:solidFill>
                  <a:srgbClr val="406B9B"/>
                </a:solidFill>
                <a:latin typeface="Century Gothic"/>
              </a:rPr>
              <a:t>startup </a:t>
            </a:r>
            <a:r>
              <a:rPr lang="it-IT" sz="2041" i="1">
                <a:solidFill>
                  <a:srgbClr val="000000"/>
                </a:solidFill>
                <a:latin typeface="Century Gothic"/>
              </a:rPr>
              <a:t>ad alto potenziale </a:t>
            </a:r>
            <a:br>
              <a:rPr lang="it-IT" sz="2041" i="1">
                <a:solidFill>
                  <a:srgbClr val="000000"/>
                </a:solidFill>
                <a:latin typeface="Century Gothic"/>
              </a:rPr>
            </a:br>
            <a:r>
              <a:rPr lang="it-IT" sz="2041" i="1">
                <a:solidFill>
                  <a:srgbClr val="000000"/>
                </a:solidFill>
                <a:latin typeface="Century Gothic"/>
              </a:rPr>
              <a:t>e accelera la trasformazione delle imprese secondo i criteri dell’</a:t>
            </a:r>
            <a:r>
              <a:rPr lang="it-IT" sz="2041" b="1" i="1">
                <a:solidFill>
                  <a:srgbClr val="406B9B"/>
                </a:solidFill>
                <a:latin typeface="Century Gothic"/>
              </a:rPr>
              <a:t>open </a:t>
            </a:r>
            <a:r>
              <a:rPr lang="it-IT" sz="2041" b="1" i="1" err="1">
                <a:solidFill>
                  <a:srgbClr val="406B9B"/>
                </a:solidFill>
                <a:latin typeface="Century Gothic"/>
              </a:rPr>
              <a:t>innovation</a:t>
            </a:r>
            <a:r>
              <a:rPr lang="it-IT" sz="2041" i="1">
                <a:solidFill>
                  <a:srgbClr val="000000"/>
                </a:solidFill>
                <a:latin typeface="Century Gothic"/>
              </a:rPr>
              <a:t> </a:t>
            </a:r>
            <a:br>
              <a:rPr lang="it-IT" sz="2041" i="1">
                <a:solidFill>
                  <a:srgbClr val="000000"/>
                </a:solidFill>
                <a:latin typeface="Century Gothic"/>
              </a:rPr>
            </a:br>
            <a:r>
              <a:rPr lang="it-IT" sz="2041" i="1">
                <a:solidFill>
                  <a:srgbClr val="000000"/>
                </a:solidFill>
                <a:latin typeface="Century Gothic"/>
              </a:rPr>
              <a:t>e dell'</a:t>
            </a:r>
            <a:r>
              <a:rPr lang="it-IT" sz="2041" b="1" i="1">
                <a:solidFill>
                  <a:srgbClr val="406B9B"/>
                </a:solidFill>
                <a:latin typeface="Century Gothic"/>
              </a:rPr>
              <a:t>economia circolare</a:t>
            </a:r>
            <a:r>
              <a:rPr lang="it-IT" sz="2041" i="1">
                <a:solidFill>
                  <a:srgbClr val="000000"/>
                </a:solidFill>
                <a:latin typeface="Century Gothic"/>
              </a:rPr>
              <a:t>, per fare di Intesa Sanpaolo la forza trainante di un’economia più consapevole, inclusiva e sostenibile.</a:t>
            </a:r>
          </a:p>
        </p:txBody>
      </p:sp>
      <p:grpSp>
        <p:nvGrpSpPr>
          <p:cNvPr id="11" name="Gruppo 10"/>
          <p:cNvGrpSpPr/>
          <p:nvPr/>
        </p:nvGrpSpPr>
        <p:grpSpPr>
          <a:xfrm>
            <a:off x="11744861" y="101707"/>
            <a:ext cx="347436" cy="323140"/>
            <a:chOff x="11510963" y="88106"/>
            <a:chExt cx="340519" cy="316707"/>
          </a:xfrm>
        </p:grpSpPr>
        <p:grpSp>
          <p:nvGrpSpPr>
            <p:cNvPr id="12" name="Gruppo 11"/>
            <p:cNvGrpSpPr/>
            <p:nvPr/>
          </p:nvGrpSpPr>
          <p:grpSpPr>
            <a:xfrm>
              <a:off x="11582401" y="173832"/>
              <a:ext cx="197643" cy="147638"/>
              <a:chOff x="11582401" y="173832"/>
              <a:chExt cx="197643" cy="147638"/>
            </a:xfrm>
          </p:grpSpPr>
          <p:cxnSp>
            <p:nvCxnSpPr>
              <p:cNvPr id="14" name="Connettore 1 13"/>
              <p:cNvCxnSpPr/>
              <p:nvPr/>
            </p:nvCxnSpPr>
            <p:spPr>
              <a:xfrm>
                <a:off x="11582401" y="173832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Connettore 1 15"/>
              <p:cNvCxnSpPr/>
              <p:nvPr/>
            </p:nvCxnSpPr>
            <p:spPr>
              <a:xfrm>
                <a:off x="11582401" y="245270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Connettore 1 16"/>
              <p:cNvCxnSpPr/>
              <p:nvPr/>
            </p:nvCxnSpPr>
            <p:spPr>
              <a:xfrm>
                <a:off x="11582401" y="321470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Rettangolo 12">
              <a:hlinkClick r:id="rId3" action="ppaction://hlinksldjump"/>
            </p:cNvPr>
            <p:cNvSpPr/>
            <p:nvPr/>
          </p:nvSpPr>
          <p:spPr>
            <a:xfrm>
              <a:off x="11510963" y="88106"/>
              <a:ext cx="340519" cy="3167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32" err="1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6" name="Freeform 5"/>
          <p:cNvSpPr>
            <a:spLocks/>
          </p:cNvSpPr>
          <p:nvPr/>
        </p:nvSpPr>
        <p:spPr bwMode="auto">
          <a:xfrm>
            <a:off x="544067" y="936245"/>
            <a:ext cx="664095" cy="664095"/>
          </a:xfrm>
          <a:custGeom>
            <a:avLst/>
            <a:gdLst>
              <a:gd name="T0" fmla="*/ 410 w 410"/>
              <a:gd name="T1" fmla="*/ 0 h 410"/>
              <a:gd name="T2" fmla="*/ 105 w 410"/>
              <a:gd name="T3" fmla="*/ 0 h 410"/>
              <a:gd name="T4" fmla="*/ 0 w 410"/>
              <a:gd name="T5" fmla="*/ 0 h 410"/>
              <a:gd name="T6" fmla="*/ 0 w 410"/>
              <a:gd name="T7" fmla="*/ 104 h 410"/>
              <a:gd name="T8" fmla="*/ 0 w 410"/>
              <a:gd name="T9" fmla="*/ 410 h 410"/>
              <a:gd name="T10" fmla="*/ 105 w 410"/>
              <a:gd name="T11" fmla="*/ 410 h 410"/>
              <a:gd name="T12" fmla="*/ 105 w 410"/>
              <a:gd name="T13" fmla="*/ 104 h 410"/>
              <a:gd name="T14" fmla="*/ 410 w 410"/>
              <a:gd name="T15" fmla="*/ 104 h 410"/>
              <a:gd name="T16" fmla="*/ 410 w 410"/>
              <a:gd name="T17" fmla="*/ 0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10" h="410">
                <a:moveTo>
                  <a:pt x="410" y="0"/>
                </a:moveTo>
                <a:lnTo>
                  <a:pt x="105" y="0"/>
                </a:lnTo>
                <a:lnTo>
                  <a:pt x="0" y="0"/>
                </a:lnTo>
                <a:lnTo>
                  <a:pt x="0" y="104"/>
                </a:lnTo>
                <a:lnTo>
                  <a:pt x="0" y="410"/>
                </a:lnTo>
                <a:lnTo>
                  <a:pt x="105" y="410"/>
                </a:lnTo>
                <a:lnTo>
                  <a:pt x="105" y="104"/>
                </a:lnTo>
                <a:lnTo>
                  <a:pt x="410" y="104"/>
                </a:lnTo>
                <a:lnTo>
                  <a:pt x="410" y="0"/>
                </a:lnTo>
                <a:close/>
              </a:path>
            </a:pathLst>
          </a:custGeom>
          <a:solidFill>
            <a:srgbClr val="406B9B"/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632">
              <a:solidFill>
                <a:srgbClr val="003A79"/>
              </a:solidFill>
              <a:latin typeface="Arial" charset="0"/>
            </a:endParaRPr>
          </a:p>
        </p:txBody>
      </p:sp>
      <p:sp>
        <p:nvSpPr>
          <p:cNvPr id="20" name="Freeform 5"/>
          <p:cNvSpPr>
            <a:spLocks/>
          </p:cNvSpPr>
          <p:nvPr/>
        </p:nvSpPr>
        <p:spPr bwMode="auto">
          <a:xfrm rot="10800000">
            <a:off x="6140965" y="5411199"/>
            <a:ext cx="449750" cy="449750"/>
          </a:xfrm>
          <a:custGeom>
            <a:avLst/>
            <a:gdLst>
              <a:gd name="T0" fmla="*/ 410 w 410"/>
              <a:gd name="T1" fmla="*/ 0 h 410"/>
              <a:gd name="T2" fmla="*/ 105 w 410"/>
              <a:gd name="T3" fmla="*/ 0 h 410"/>
              <a:gd name="T4" fmla="*/ 0 w 410"/>
              <a:gd name="T5" fmla="*/ 0 h 410"/>
              <a:gd name="T6" fmla="*/ 0 w 410"/>
              <a:gd name="T7" fmla="*/ 104 h 410"/>
              <a:gd name="T8" fmla="*/ 0 w 410"/>
              <a:gd name="T9" fmla="*/ 410 h 410"/>
              <a:gd name="T10" fmla="*/ 105 w 410"/>
              <a:gd name="T11" fmla="*/ 410 h 410"/>
              <a:gd name="T12" fmla="*/ 105 w 410"/>
              <a:gd name="T13" fmla="*/ 104 h 410"/>
              <a:gd name="T14" fmla="*/ 410 w 410"/>
              <a:gd name="T15" fmla="*/ 104 h 410"/>
              <a:gd name="T16" fmla="*/ 410 w 410"/>
              <a:gd name="T17" fmla="*/ 0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10" h="410">
                <a:moveTo>
                  <a:pt x="410" y="0"/>
                </a:moveTo>
                <a:lnTo>
                  <a:pt x="105" y="0"/>
                </a:lnTo>
                <a:lnTo>
                  <a:pt x="0" y="0"/>
                </a:lnTo>
                <a:lnTo>
                  <a:pt x="0" y="104"/>
                </a:lnTo>
                <a:lnTo>
                  <a:pt x="0" y="410"/>
                </a:lnTo>
                <a:lnTo>
                  <a:pt x="105" y="410"/>
                </a:lnTo>
                <a:lnTo>
                  <a:pt x="105" y="104"/>
                </a:lnTo>
                <a:lnTo>
                  <a:pt x="410" y="104"/>
                </a:lnTo>
                <a:lnTo>
                  <a:pt x="410" y="0"/>
                </a:lnTo>
                <a:close/>
              </a:path>
            </a:pathLst>
          </a:custGeom>
          <a:solidFill>
            <a:srgbClr val="406B9B"/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632">
              <a:solidFill>
                <a:srgbClr val="003A79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091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344"/>
          <a:stretch/>
        </p:blipFill>
        <p:spPr>
          <a:xfrm>
            <a:off x="4935885" y="-11311"/>
            <a:ext cx="7256026" cy="4765038"/>
          </a:xfrm>
          <a:prstGeom prst="parallelogram">
            <a:avLst>
              <a:gd name="adj" fmla="val 0"/>
            </a:avLst>
          </a:prstGeom>
        </p:spPr>
      </p:pic>
      <p:sp>
        <p:nvSpPr>
          <p:cNvPr id="7" name="Rettangolo 6">
            <a:extLst>
              <a:ext uri="{FF2B5EF4-FFF2-40B4-BE49-F238E27FC236}">
                <a16:creationId xmlns:a16="http://schemas.microsoft.com/office/drawing/2014/main" id="{BFD65287-0AB5-5546-9D44-678F6AC25216}"/>
              </a:ext>
            </a:extLst>
          </p:cNvPr>
          <p:cNvSpPr/>
          <p:nvPr/>
        </p:nvSpPr>
        <p:spPr>
          <a:xfrm>
            <a:off x="4879755" y="67"/>
            <a:ext cx="5826771" cy="4763816"/>
          </a:xfrm>
          <a:prstGeom prst="rect">
            <a:avLst/>
          </a:prstGeom>
          <a:gradFill>
            <a:gsLst>
              <a:gs pos="10000">
                <a:schemeClr val="bg1"/>
              </a:gs>
              <a:gs pos="99000">
                <a:schemeClr val="bg1">
                  <a:alpha val="0"/>
                </a:scheme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632" err="1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404828" y="1850940"/>
            <a:ext cx="3314921" cy="15364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837" b="1" dirty="0">
                <a:solidFill>
                  <a:srgbClr val="000000"/>
                </a:solidFill>
                <a:latin typeface="Century Gothic" panose="020B0502020202020204" pitchFamily="34" charset="0"/>
              </a:rPr>
              <a:t>Identifichiamo</a:t>
            </a:r>
            <a:br>
              <a:rPr lang="it-IT" sz="1837" b="1" dirty="0">
                <a:solidFill>
                  <a:srgbClr val="000000"/>
                </a:solidFill>
                <a:latin typeface="Century Gothic" panose="020B0502020202020204" pitchFamily="34" charset="0"/>
              </a:rPr>
            </a:br>
            <a:r>
              <a:rPr lang="it-IT" sz="1837" b="1" dirty="0">
                <a:solidFill>
                  <a:srgbClr val="000000"/>
                </a:solidFill>
                <a:latin typeface="Century Gothic" panose="020B0502020202020204" pitchFamily="34" charset="0"/>
              </a:rPr>
              <a:t>le startup più promettenti </a:t>
            </a:r>
            <a:r>
              <a:rPr lang="it-IT" sz="1837" dirty="0">
                <a:solidFill>
                  <a:srgbClr val="000000"/>
                </a:solidFill>
                <a:latin typeface="Century Gothic" panose="020B0502020202020204" pitchFamily="34" charset="0"/>
              </a:rPr>
              <a:t>con un elevato potenziale </a:t>
            </a:r>
            <a:br>
              <a:rPr lang="it-IT" sz="1837" dirty="0">
                <a:solidFill>
                  <a:srgbClr val="000000"/>
                </a:solidFill>
                <a:latin typeface="Century Gothic" panose="020B0502020202020204" pitchFamily="34" charset="0"/>
              </a:rPr>
            </a:br>
            <a:r>
              <a:rPr lang="it-IT" sz="1837" dirty="0">
                <a:solidFill>
                  <a:srgbClr val="000000"/>
                </a:solidFill>
                <a:latin typeface="Century Gothic" panose="020B0502020202020204" pitchFamily="34" charset="0"/>
              </a:rPr>
              <a:t>di sviluppo e le </a:t>
            </a:r>
            <a:r>
              <a:rPr lang="it-IT" sz="1837" b="1" dirty="0">
                <a:solidFill>
                  <a:srgbClr val="000000"/>
                </a:solidFill>
                <a:latin typeface="Century Gothic" panose="020B0502020202020204" pitchFamily="34" charset="0"/>
              </a:rPr>
              <a:t>sosteniamo nella crescita</a:t>
            </a:r>
            <a:r>
              <a:rPr lang="it-IT" sz="1837" dirty="0">
                <a:solidFill>
                  <a:srgbClr val="000000"/>
                </a:solidFill>
                <a:latin typeface="Century Gothic" panose="020B0502020202020204" pitchFamily="34" charset="0"/>
              </a:rPr>
              <a:t>. </a:t>
            </a:r>
            <a:endParaRPr lang="it-IT" sz="1837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404828" y="1009933"/>
            <a:ext cx="3107897" cy="5428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9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it-IT" sz="2857" err="1">
                <a:solidFill>
                  <a:srgbClr val="003A79"/>
                </a:solidFill>
                <a:latin typeface="Century Gothic" panose="020B0502020202020204" pitchFamily="34" charset="0"/>
              </a:rPr>
              <a:t>Sviluppo</a:t>
            </a:r>
            <a:r>
              <a:rPr lang="en-GB" altLang="it-IT" sz="2857">
                <a:solidFill>
                  <a:srgbClr val="003A79"/>
                </a:solidFill>
                <a:latin typeface="Century Gothic" panose="020B0502020202020204" pitchFamily="34" charset="0"/>
              </a:rPr>
              <a:t> </a:t>
            </a:r>
            <a:r>
              <a:rPr lang="en-GB" altLang="it-IT" sz="2857" err="1">
                <a:solidFill>
                  <a:srgbClr val="003A79"/>
                </a:solidFill>
                <a:latin typeface="Century Gothic" panose="020B0502020202020204" pitchFamily="34" charset="0"/>
              </a:rPr>
              <a:t>Startup</a:t>
            </a:r>
            <a:endParaRPr lang="en-GB" altLang="it-IT" sz="2857">
              <a:solidFill>
                <a:srgbClr val="003A79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itolo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>
                <a:solidFill>
                  <a:schemeClr val="tx2"/>
                </a:solidFill>
              </a:rPr>
              <a:t>Ambiti</a:t>
            </a:r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2AA265EF-13EC-9C4D-A52B-15D56D0DA105}"/>
              </a:ext>
            </a:extLst>
          </p:cNvPr>
          <p:cNvGrpSpPr/>
          <p:nvPr/>
        </p:nvGrpSpPr>
        <p:grpSpPr>
          <a:xfrm>
            <a:off x="11744861" y="89897"/>
            <a:ext cx="347436" cy="323140"/>
            <a:chOff x="11510963" y="88106"/>
            <a:chExt cx="340519" cy="316707"/>
          </a:xfrm>
        </p:grpSpPr>
        <p:grpSp>
          <p:nvGrpSpPr>
            <p:cNvPr id="13" name="Gruppo 12">
              <a:extLst>
                <a:ext uri="{FF2B5EF4-FFF2-40B4-BE49-F238E27FC236}">
                  <a16:creationId xmlns:a16="http://schemas.microsoft.com/office/drawing/2014/main" id="{1DAB5521-8CED-1749-B162-46F1DEC1F772}"/>
                </a:ext>
              </a:extLst>
            </p:cNvPr>
            <p:cNvGrpSpPr/>
            <p:nvPr/>
          </p:nvGrpSpPr>
          <p:grpSpPr>
            <a:xfrm>
              <a:off x="11582401" y="173832"/>
              <a:ext cx="197643" cy="147638"/>
              <a:chOff x="11582401" y="173832"/>
              <a:chExt cx="197643" cy="147638"/>
            </a:xfrm>
          </p:grpSpPr>
          <p:cxnSp>
            <p:nvCxnSpPr>
              <p:cNvPr id="15" name="Connettore 1 14">
                <a:extLst>
                  <a:ext uri="{FF2B5EF4-FFF2-40B4-BE49-F238E27FC236}">
                    <a16:creationId xmlns:a16="http://schemas.microsoft.com/office/drawing/2014/main" id="{77D1C3A4-4689-9240-BDE2-37BC411F5ADB}"/>
                  </a:ext>
                </a:extLst>
              </p:cNvPr>
              <p:cNvCxnSpPr/>
              <p:nvPr/>
            </p:nvCxnSpPr>
            <p:spPr>
              <a:xfrm>
                <a:off x="11582401" y="173832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Connettore 1 15">
                <a:extLst>
                  <a:ext uri="{FF2B5EF4-FFF2-40B4-BE49-F238E27FC236}">
                    <a16:creationId xmlns:a16="http://schemas.microsoft.com/office/drawing/2014/main" id="{F99A02DD-C5DC-5B48-AE41-23460839180D}"/>
                  </a:ext>
                </a:extLst>
              </p:cNvPr>
              <p:cNvCxnSpPr/>
              <p:nvPr/>
            </p:nvCxnSpPr>
            <p:spPr>
              <a:xfrm>
                <a:off x="11582401" y="245270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Connettore 1 16">
                <a:extLst>
                  <a:ext uri="{FF2B5EF4-FFF2-40B4-BE49-F238E27FC236}">
                    <a16:creationId xmlns:a16="http://schemas.microsoft.com/office/drawing/2014/main" id="{4DA17E53-DC3D-5144-AD17-F87C474750B8}"/>
                  </a:ext>
                </a:extLst>
              </p:cNvPr>
              <p:cNvCxnSpPr/>
              <p:nvPr/>
            </p:nvCxnSpPr>
            <p:spPr>
              <a:xfrm>
                <a:off x="11582401" y="321470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Rettangolo 13">
              <a:hlinkClick r:id="rId3" action="ppaction://hlinksldjump"/>
              <a:extLst>
                <a:ext uri="{FF2B5EF4-FFF2-40B4-BE49-F238E27FC236}">
                  <a16:creationId xmlns:a16="http://schemas.microsoft.com/office/drawing/2014/main" id="{0D55B02F-E71A-BA4E-B106-DC5CD5DBC3D3}"/>
                </a:ext>
              </a:extLst>
            </p:cNvPr>
            <p:cNvSpPr/>
            <p:nvPr/>
          </p:nvSpPr>
          <p:spPr>
            <a:xfrm>
              <a:off x="11510963" y="88106"/>
              <a:ext cx="340519" cy="3167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32" err="1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19" name="Rettangolo con angoli arrotondati 18">
            <a:extLst>
              <a:ext uri="{FF2B5EF4-FFF2-40B4-BE49-F238E27FC236}">
                <a16:creationId xmlns:a16="http://schemas.microsoft.com/office/drawing/2014/main" id="{41C7C2C9-4840-48CD-A626-F6E513646F8C}"/>
              </a:ext>
            </a:extLst>
          </p:cNvPr>
          <p:cNvSpPr/>
          <p:nvPr/>
        </p:nvSpPr>
        <p:spPr>
          <a:xfrm>
            <a:off x="643509" y="3825427"/>
            <a:ext cx="2160000" cy="118800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97469" eaLnBrk="0" hangingPunct="0"/>
            <a:r>
              <a:rPr lang="it-IT" b="1" dirty="0">
                <a:solidFill>
                  <a:prstClr val="white"/>
                </a:solidFill>
                <a:latin typeface="Century Gothic" pitchFamily="34" charset="0"/>
                <a:cs typeface="Arial"/>
              </a:rPr>
              <a:t>Valutazione Startup</a:t>
            </a:r>
          </a:p>
        </p:txBody>
      </p:sp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8B1F9F7B-FC05-483C-82B3-4DE577D617C1}"/>
              </a:ext>
            </a:extLst>
          </p:cNvPr>
          <p:cNvSpPr/>
          <p:nvPr/>
        </p:nvSpPr>
        <p:spPr>
          <a:xfrm>
            <a:off x="2738105" y="4100056"/>
            <a:ext cx="2160000" cy="118800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597469">
              <a:defRPr/>
            </a:pPr>
            <a:r>
              <a:rPr lang="it-IT" b="1" dirty="0">
                <a:latin typeface="Century Gothic"/>
              </a:rPr>
              <a:t>Percorsi di Accelerazione</a:t>
            </a:r>
          </a:p>
        </p:txBody>
      </p:sp>
      <p:sp>
        <p:nvSpPr>
          <p:cNvPr id="22" name="Rettangolo con angoli arrotondati 21">
            <a:extLst>
              <a:ext uri="{FF2B5EF4-FFF2-40B4-BE49-F238E27FC236}">
                <a16:creationId xmlns:a16="http://schemas.microsoft.com/office/drawing/2014/main" id="{5993D0A0-3187-49DC-A5DF-066149E9A477}"/>
              </a:ext>
            </a:extLst>
          </p:cNvPr>
          <p:cNvSpPr/>
          <p:nvPr/>
        </p:nvSpPr>
        <p:spPr>
          <a:xfrm>
            <a:off x="4832701" y="4374685"/>
            <a:ext cx="2160000" cy="118800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97469" eaLnBrk="0" hangingPunct="0"/>
            <a:r>
              <a:rPr lang="it-IT" b="1" dirty="0">
                <a:solidFill>
                  <a:prstClr val="white"/>
                </a:solidFill>
                <a:latin typeface="Century Gothic" pitchFamily="34" charset="0"/>
                <a:cs typeface="Arial"/>
              </a:rPr>
              <a:t>Open Innovation </a:t>
            </a:r>
            <a:endParaRPr lang="it-IT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Rettangolo con angoli arrotondati 22">
            <a:extLst>
              <a:ext uri="{FF2B5EF4-FFF2-40B4-BE49-F238E27FC236}">
                <a16:creationId xmlns:a16="http://schemas.microsoft.com/office/drawing/2014/main" id="{67EA44A1-2B99-4C1A-A2AD-64286B2EA05C}"/>
              </a:ext>
            </a:extLst>
          </p:cNvPr>
          <p:cNvSpPr/>
          <p:nvPr/>
        </p:nvSpPr>
        <p:spPr>
          <a:xfrm>
            <a:off x="6927297" y="4649314"/>
            <a:ext cx="2160000" cy="118800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97469" eaLnBrk="0" hangingPunct="0"/>
            <a:r>
              <a:rPr lang="it-IT" b="1" dirty="0">
                <a:solidFill>
                  <a:prstClr val="white"/>
                </a:solidFill>
                <a:latin typeface="Century Gothic" pitchFamily="34" charset="0"/>
                <a:cs typeface="Arial"/>
              </a:rPr>
              <a:t>Business Development</a:t>
            </a:r>
            <a:endParaRPr lang="it-IT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ettangolo con angoli arrotondati 20">
            <a:extLst>
              <a:ext uri="{FF2B5EF4-FFF2-40B4-BE49-F238E27FC236}">
                <a16:creationId xmlns:a16="http://schemas.microsoft.com/office/drawing/2014/main" id="{94275C58-4456-4607-9BB1-A7D4CE0C1DEC}"/>
              </a:ext>
            </a:extLst>
          </p:cNvPr>
          <p:cNvSpPr/>
          <p:nvPr/>
        </p:nvSpPr>
        <p:spPr>
          <a:xfrm>
            <a:off x="9021892" y="4923944"/>
            <a:ext cx="2160000" cy="118800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97469">
              <a:defRPr/>
            </a:pPr>
            <a:r>
              <a:rPr lang="it-IT" b="1" dirty="0">
                <a:solidFill>
                  <a:prstClr val="white"/>
                </a:solidFill>
                <a:latin typeface="Century Gothic" panose="020B0502020202020204" pitchFamily="34" charset="0"/>
              </a:rPr>
              <a:t>Supporto del funding </a:t>
            </a:r>
          </a:p>
        </p:txBody>
      </p:sp>
    </p:spTree>
    <p:extLst>
      <p:ext uri="{BB962C8B-B14F-4D97-AF65-F5344CB8AC3E}">
        <p14:creationId xmlns:p14="http://schemas.microsoft.com/office/powerpoint/2010/main" val="292064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2" grpId="0" animBg="1"/>
      <p:bldP spid="23" grpId="0" animBg="1"/>
      <p:bldP spid="2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897" y="102"/>
            <a:ext cx="11007012" cy="6191445"/>
          </a:xfrm>
          <a:prstGeom prst="rect">
            <a:avLst/>
          </a:prstGeom>
        </p:spPr>
      </p:pic>
      <p:sp>
        <p:nvSpPr>
          <p:cNvPr id="15" name="Rectangle 5"/>
          <p:cNvSpPr/>
          <p:nvPr/>
        </p:nvSpPr>
        <p:spPr>
          <a:xfrm>
            <a:off x="94" y="1"/>
            <a:ext cx="12191817" cy="6217155"/>
          </a:xfrm>
          <a:prstGeom prst="rect">
            <a:avLst/>
          </a:prstGeom>
          <a:gradFill flip="none" rotWithShape="1">
            <a:gsLst>
              <a:gs pos="63000">
                <a:srgbClr val="FFFFFF">
                  <a:alpha val="73000"/>
                </a:srgbClr>
              </a:gs>
              <a:gs pos="14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2133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22" name="Gruppo 21"/>
          <p:cNvGrpSpPr/>
          <p:nvPr/>
        </p:nvGrpSpPr>
        <p:grpSpPr>
          <a:xfrm>
            <a:off x="11744861" y="89897"/>
            <a:ext cx="347436" cy="323140"/>
            <a:chOff x="11510963" y="88106"/>
            <a:chExt cx="340519" cy="316707"/>
          </a:xfrm>
        </p:grpSpPr>
        <p:grpSp>
          <p:nvGrpSpPr>
            <p:cNvPr id="23" name="Gruppo 22"/>
            <p:cNvGrpSpPr/>
            <p:nvPr/>
          </p:nvGrpSpPr>
          <p:grpSpPr>
            <a:xfrm>
              <a:off x="11582401" y="173832"/>
              <a:ext cx="197643" cy="147638"/>
              <a:chOff x="11582401" y="173832"/>
              <a:chExt cx="197643" cy="147638"/>
            </a:xfrm>
          </p:grpSpPr>
          <p:cxnSp>
            <p:nvCxnSpPr>
              <p:cNvPr id="25" name="Connettore 1 24"/>
              <p:cNvCxnSpPr/>
              <p:nvPr/>
            </p:nvCxnSpPr>
            <p:spPr>
              <a:xfrm>
                <a:off x="11582401" y="173832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Connettore 1 25"/>
              <p:cNvCxnSpPr/>
              <p:nvPr/>
            </p:nvCxnSpPr>
            <p:spPr>
              <a:xfrm>
                <a:off x="11582401" y="245270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Connettore 1 26"/>
              <p:cNvCxnSpPr/>
              <p:nvPr/>
            </p:nvCxnSpPr>
            <p:spPr>
              <a:xfrm>
                <a:off x="11582401" y="321470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" name="Rettangolo 23">
              <a:hlinkClick r:id="rId3" action="ppaction://hlinksldjump"/>
            </p:cNvPr>
            <p:cNvSpPr/>
            <p:nvPr/>
          </p:nvSpPr>
          <p:spPr>
            <a:xfrm>
              <a:off x="11510963" y="88106"/>
              <a:ext cx="340519" cy="3167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it-IT" sz="1632" err="1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4" name="Titolo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>
                <a:solidFill>
                  <a:schemeClr val="tx2"/>
                </a:solidFill>
              </a:rPr>
              <a:t>I numeri</a:t>
            </a:r>
          </a:p>
        </p:txBody>
      </p:sp>
      <p:sp>
        <p:nvSpPr>
          <p:cNvPr id="33" name="Rettangolo 32"/>
          <p:cNvSpPr/>
          <p:nvPr/>
        </p:nvSpPr>
        <p:spPr>
          <a:xfrm>
            <a:off x="2095881" y="1226176"/>
            <a:ext cx="2384423" cy="1279469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/>
              </a:rPr>
              <a:t>+800</a:t>
            </a:r>
            <a:endParaRPr lang="it-IT" sz="3265" b="1">
              <a:solidFill>
                <a:srgbClr val="406B9B"/>
              </a:solidFill>
              <a:latin typeface="Century Gothic" panose="020B0502020202020204" pitchFamily="34" charset="0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AZIENDE INTERESSATE ALL'OFFERTA DI INNOVAZIONE</a:t>
            </a:r>
            <a:endParaRPr lang="it-IT" sz="1428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39" name="Rettangolo 38"/>
          <p:cNvSpPr/>
          <p:nvPr/>
        </p:nvSpPr>
        <p:spPr>
          <a:xfrm>
            <a:off x="2340481" y="3031897"/>
            <a:ext cx="1878053" cy="1055265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/>
              </a:rPr>
              <a:t>+20</a:t>
            </a:r>
            <a:endParaRPr lang="it-IT" sz="3265" b="1">
              <a:solidFill>
                <a:srgbClr val="406B9B"/>
              </a:solidFill>
              <a:latin typeface="Century Gothic" panose="020B0502020202020204" pitchFamily="34" charset="0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PERCORSI DI ACCELERAZIONE</a:t>
            </a:r>
            <a:endParaRPr lang="it-IT" sz="1428" b="1">
              <a:solidFill>
                <a:srgbClr val="000000"/>
              </a:solidFill>
              <a:latin typeface="Century Gothic"/>
            </a:endParaRPr>
          </a:p>
        </p:txBody>
      </p:sp>
      <p:sp>
        <p:nvSpPr>
          <p:cNvPr id="57" name="Rettangolo 56"/>
          <p:cNvSpPr/>
          <p:nvPr/>
        </p:nvSpPr>
        <p:spPr>
          <a:xfrm>
            <a:off x="4134614" y="1226184"/>
            <a:ext cx="2904130" cy="1475613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/>
              </a:rPr>
              <a:t>+280</a:t>
            </a:r>
            <a:endParaRPr lang="it-IT" sz="3673" b="1">
              <a:solidFill>
                <a:srgbClr val="406B9B"/>
              </a:solidFill>
              <a:latin typeface="Century Gothic" panose="020B0502020202020204" pitchFamily="34" charset="0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AZIENDE CHE HANNO AVVIATO COLLABORAZIONI IN AMBITO OPEN INNOVATION, CIRCULAR E GREEN ECONOMY</a:t>
            </a:r>
          </a:p>
        </p:txBody>
      </p:sp>
      <p:sp>
        <p:nvSpPr>
          <p:cNvPr id="59" name="Rettangolo 58"/>
          <p:cNvSpPr/>
          <p:nvPr/>
        </p:nvSpPr>
        <p:spPr>
          <a:xfrm>
            <a:off x="6876534" y="1226177"/>
            <a:ext cx="1792607" cy="1055265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/>
              </a:rPr>
              <a:t>+80</a:t>
            </a:r>
            <a:endParaRPr lang="it-IT" sz="3673" b="1">
              <a:solidFill>
                <a:srgbClr val="406B9B"/>
              </a:solidFill>
              <a:latin typeface="Century Gothic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STARTUP ENTRATE NEL NETWORK</a:t>
            </a:r>
          </a:p>
        </p:txBody>
      </p:sp>
      <p:sp>
        <p:nvSpPr>
          <p:cNvPr id="61" name="Rettangolo 60"/>
          <p:cNvSpPr/>
          <p:nvPr/>
        </p:nvSpPr>
        <p:spPr>
          <a:xfrm>
            <a:off x="534163" y="1491970"/>
            <a:ext cx="1822306" cy="735088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041" b="1">
                <a:solidFill>
                  <a:srgbClr val="003A79"/>
                </a:solidFill>
                <a:latin typeface="Century Gothic" panose="020B0502020202020204" pitchFamily="34" charset="0"/>
              </a:rPr>
              <a:t>OPEN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041" b="1">
                <a:solidFill>
                  <a:srgbClr val="003A79"/>
                </a:solidFill>
                <a:latin typeface="Century Gothic" panose="020B0502020202020204" pitchFamily="34" charset="0"/>
              </a:rPr>
              <a:t>INNOVATION</a:t>
            </a:r>
            <a:endParaRPr lang="it-IT" sz="1071" b="1">
              <a:solidFill>
                <a:srgbClr val="003A79"/>
              </a:solidFill>
              <a:latin typeface="Century Gothic" panose="020B0502020202020204" pitchFamily="34" charset="0"/>
            </a:endParaRPr>
          </a:p>
        </p:txBody>
      </p:sp>
      <p:sp>
        <p:nvSpPr>
          <p:cNvPr id="62" name="Rettangolo 61"/>
          <p:cNvSpPr/>
          <p:nvPr/>
        </p:nvSpPr>
        <p:spPr>
          <a:xfrm>
            <a:off x="534163" y="3237798"/>
            <a:ext cx="1822306" cy="735088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041" b="1">
                <a:solidFill>
                  <a:srgbClr val="003A79"/>
                </a:solidFill>
                <a:latin typeface="Century Gothic" panose="020B0502020202020204" pitchFamily="34" charset="0"/>
              </a:rPr>
              <a:t>SVILUPPO STARTUP</a:t>
            </a:r>
          </a:p>
        </p:txBody>
      </p:sp>
      <p:sp>
        <p:nvSpPr>
          <p:cNvPr id="63" name="Rettangolo 62"/>
          <p:cNvSpPr/>
          <p:nvPr/>
        </p:nvSpPr>
        <p:spPr>
          <a:xfrm>
            <a:off x="4550699" y="3031897"/>
            <a:ext cx="2055280" cy="1279469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/>
              </a:rPr>
              <a:t>+2.800</a:t>
            </a:r>
            <a:endParaRPr lang="it-IT" sz="1632">
              <a:solidFill>
                <a:srgbClr val="000000"/>
              </a:solidFill>
              <a:latin typeface="Arial" charset="0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STARTUP ANALIZZATE PER PERCORSI DI ACCELERAZIONE</a:t>
            </a:r>
            <a:endParaRPr lang="it-IT" sz="1428" b="1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64" name="Rettangolo 63"/>
          <p:cNvSpPr/>
          <p:nvPr/>
        </p:nvSpPr>
        <p:spPr>
          <a:xfrm>
            <a:off x="6938143" y="3031897"/>
            <a:ext cx="1736920" cy="1279469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/>
              </a:rPr>
              <a:t>+410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STARTUP ACCELERATE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428">
              <a:solidFill>
                <a:srgbClr val="000000"/>
              </a:solidFill>
              <a:latin typeface="Century Gothic"/>
            </a:endParaRPr>
          </a:p>
        </p:txBody>
      </p:sp>
      <p:sp>
        <p:nvSpPr>
          <p:cNvPr id="76" name="Rettangolo 75"/>
          <p:cNvSpPr/>
          <p:nvPr/>
        </p:nvSpPr>
        <p:spPr>
          <a:xfrm>
            <a:off x="2340481" y="4745232"/>
            <a:ext cx="1878053" cy="1279469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 panose="020B0502020202020204" pitchFamily="34" charset="0"/>
              </a:rPr>
              <a:t>35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PROGETTI DI RICERCA ATTIVATI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428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77" name="Rettangolo 76"/>
          <p:cNvSpPr/>
          <p:nvPr/>
        </p:nvSpPr>
        <p:spPr>
          <a:xfrm>
            <a:off x="534163" y="4972041"/>
            <a:ext cx="1822306" cy="735088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041" b="1">
                <a:solidFill>
                  <a:srgbClr val="003A79"/>
                </a:solidFill>
                <a:latin typeface="Century Gothic" panose="020B0502020202020204" pitchFamily="34" charset="0"/>
              </a:rPr>
              <a:t>LABS &amp; TRENDS</a:t>
            </a:r>
          </a:p>
        </p:txBody>
      </p:sp>
      <p:sp>
        <p:nvSpPr>
          <p:cNvPr id="78" name="Rettangolo 77"/>
          <p:cNvSpPr/>
          <p:nvPr/>
        </p:nvSpPr>
        <p:spPr>
          <a:xfrm>
            <a:off x="4688366" y="4745232"/>
            <a:ext cx="1736920" cy="831062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/>
              </a:rPr>
              <a:t>32</a:t>
            </a:r>
            <a:endParaRPr lang="it-IT" sz="3265" b="1">
              <a:solidFill>
                <a:srgbClr val="406B9B"/>
              </a:solidFill>
              <a:latin typeface="Century Gothic" panose="020B0502020202020204" pitchFamily="34" charset="0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TREND REPORT</a:t>
            </a:r>
            <a:endParaRPr lang="it-IT" sz="1428" b="1">
              <a:solidFill>
                <a:srgbClr val="000000"/>
              </a:solidFill>
              <a:latin typeface="Century Gothic"/>
            </a:endParaRPr>
          </a:p>
        </p:txBody>
      </p:sp>
      <p:sp>
        <p:nvSpPr>
          <p:cNvPr id="79" name="Rettangolo 78"/>
          <p:cNvSpPr/>
          <p:nvPr/>
        </p:nvSpPr>
        <p:spPr>
          <a:xfrm>
            <a:off x="6569816" y="4745232"/>
            <a:ext cx="2524644" cy="1055265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/>
              </a:rPr>
              <a:t>11</a:t>
            </a:r>
            <a:endParaRPr lang="it-IT" sz="3265" b="1">
              <a:solidFill>
                <a:srgbClr val="406B9B"/>
              </a:solidFill>
              <a:latin typeface="Century Gothic" panose="020B0502020202020204" pitchFamily="34" charset="0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PUBBLICAZIONI SCIENTIFICHE</a:t>
            </a:r>
            <a:endParaRPr lang="it-IT" sz="1428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CE18B1A4-10B1-AF4B-BFE9-4C871C126F5F}"/>
              </a:ext>
            </a:extLst>
          </p:cNvPr>
          <p:cNvSpPr txBox="1"/>
          <p:nvPr/>
        </p:nvSpPr>
        <p:spPr>
          <a:xfrm>
            <a:off x="535547" y="6444147"/>
            <a:ext cx="2665282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812841" indent="-812841" defTabSz="895350">
              <a:tabLst>
                <a:tab pos="630238" algn="l"/>
              </a:tabLst>
              <a:defRPr sz="900">
                <a:solidFill>
                  <a:schemeClr val="accent6"/>
                </a:solidFill>
                <a:latin typeface="Century Gothic" panose="020B0502020202020204" pitchFamily="34" charset="0"/>
                <a:ea typeface="Open Sans"/>
                <a:cs typeface="Open Sans"/>
              </a:defRPr>
            </a:lvl1pPr>
            <a:lvl2pPr marL="803275" indent="-307975" defTabSz="4937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latin typeface="+mn-lt"/>
                <a:ea typeface="MS PGothic" pitchFamily="34" charset="-128"/>
                <a:cs typeface="MS PGothic" charset="0"/>
              </a:defRPr>
            </a:lvl2pPr>
            <a:lvl3pPr marL="12366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latin typeface="+mn-lt"/>
                <a:ea typeface="MS PGothic" pitchFamily="34" charset="-128"/>
                <a:cs typeface="MS PGothic" charset="0"/>
              </a:defRPr>
            </a:lvl3pPr>
            <a:lvl4pPr marL="17319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latin typeface="+mn-lt"/>
                <a:ea typeface="MS PGothic" pitchFamily="34" charset="-128"/>
                <a:cs typeface="MS PGothic" charset="0"/>
              </a:defRPr>
            </a:lvl4pPr>
            <a:lvl5pPr marL="22272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latin typeface="+mn-lt"/>
                <a:ea typeface="MS PGothic" pitchFamily="34" charset="-128"/>
                <a:cs typeface="MS PGothic" charset="0"/>
              </a:defRPr>
            </a:lvl5pPr>
            <a:lvl6pPr marL="2724066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6pPr>
            <a:lvl7pPr marL="3219351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7pPr>
            <a:lvl8pPr marL="3714636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8pPr>
            <a:lvl9pPr marL="4209920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9pPr>
          </a:lstStyle>
          <a:p>
            <a:pPr marL="829342" indent="-829342" defTabSz="913526" fontAlgn="base">
              <a:spcBef>
                <a:spcPct val="0"/>
              </a:spcBef>
              <a:spcAft>
                <a:spcPct val="0"/>
              </a:spcAft>
              <a:tabLst>
                <a:tab pos="643032" algn="l"/>
              </a:tabLst>
            </a:pPr>
            <a:r>
              <a:rPr lang="it-IT" sz="1020">
                <a:solidFill>
                  <a:srgbClr val="808080"/>
                </a:solidFill>
              </a:rPr>
              <a:t>Dati dal 2018 al 31/03/2021</a:t>
            </a:r>
          </a:p>
        </p:txBody>
      </p:sp>
      <p:cxnSp>
        <p:nvCxnSpPr>
          <p:cNvPr id="34" name="Connettore 1 33">
            <a:extLst>
              <a:ext uri="{FF2B5EF4-FFF2-40B4-BE49-F238E27FC236}">
                <a16:creationId xmlns:a16="http://schemas.microsoft.com/office/drawing/2014/main" id="{46A658A6-6E62-924F-98BD-5F8DCCD5DF8C}"/>
              </a:ext>
            </a:extLst>
          </p:cNvPr>
          <p:cNvCxnSpPr/>
          <p:nvPr/>
        </p:nvCxnSpPr>
        <p:spPr>
          <a:xfrm>
            <a:off x="544066" y="2766628"/>
            <a:ext cx="8261377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1 34">
            <a:extLst>
              <a:ext uri="{FF2B5EF4-FFF2-40B4-BE49-F238E27FC236}">
                <a16:creationId xmlns:a16="http://schemas.microsoft.com/office/drawing/2014/main" id="{AA194AC2-81D7-2645-8EB6-A228804E9245}"/>
              </a:ext>
            </a:extLst>
          </p:cNvPr>
          <p:cNvCxnSpPr/>
          <p:nvPr/>
        </p:nvCxnSpPr>
        <p:spPr>
          <a:xfrm>
            <a:off x="544066" y="4517218"/>
            <a:ext cx="8261377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0973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9" grpId="0"/>
      <p:bldP spid="57" grpId="0"/>
      <p:bldP spid="59" grpId="0"/>
      <p:bldP spid="61" grpId="0"/>
      <p:bldP spid="62" grpId="0"/>
      <p:bldP spid="63" grpId="0"/>
      <p:bldP spid="64" grpId="0"/>
      <p:bldP spid="76" grpId="0"/>
      <p:bldP spid="77" grpId="0"/>
      <p:bldP spid="78" grpId="0"/>
      <p:bldP spid="79" grpId="0"/>
      <p:bldP spid="3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Immagine 28">
            <a:extLst>
              <a:ext uri="{FF2B5EF4-FFF2-40B4-BE49-F238E27FC236}">
                <a16:creationId xmlns:a16="http://schemas.microsoft.com/office/drawing/2014/main" id="{2D51AF9B-20C1-6D47-A0FD-A9B4F85F4E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897" y="102"/>
            <a:ext cx="11007012" cy="6191445"/>
          </a:xfrm>
          <a:prstGeom prst="rect">
            <a:avLst/>
          </a:prstGeom>
        </p:spPr>
      </p:pic>
      <p:sp>
        <p:nvSpPr>
          <p:cNvPr id="30" name="Rectangle 5">
            <a:extLst>
              <a:ext uri="{FF2B5EF4-FFF2-40B4-BE49-F238E27FC236}">
                <a16:creationId xmlns:a16="http://schemas.microsoft.com/office/drawing/2014/main" id="{95239B68-A62C-4B49-9CCD-82E08F23C731}"/>
              </a:ext>
            </a:extLst>
          </p:cNvPr>
          <p:cNvSpPr/>
          <p:nvPr/>
        </p:nvSpPr>
        <p:spPr>
          <a:xfrm>
            <a:off x="90" y="-14170"/>
            <a:ext cx="12191817" cy="6217155"/>
          </a:xfrm>
          <a:prstGeom prst="rect">
            <a:avLst/>
          </a:prstGeom>
          <a:gradFill flip="none" rotWithShape="1">
            <a:gsLst>
              <a:gs pos="63000">
                <a:srgbClr val="FFFFFF">
                  <a:alpha val="73000"/>
                </a:srgbClr>
              </a:gs>
              <a:gs pos="14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632" b="1">
              <a:solidFill>
                <a:srgbClr val="003A79"/>
              </a:solidFill>
              <a:latin typeface="Century Gothic"/>
            </a:endParaRPr>
          </a:p>
        </p:txBody>
      </p:sp>
      <p:grpSp>
        <p:nvGrpSpPr>
          <p:cNvPr id="22" name="Gruppo 21"/>
          <p:cNvGrpSpPr/>
          <p:nvPr/>
        </p:nvGrpSpPr>
        <p:grpSpPr>
          <a:xfrm>
            <a:off x="11744861" y="89897"/>
            <a:ext cx="347436" cy="323140"/>
            <a:chOff x="11510963" y="88106"/>
            <a:chExt cx="340519" cy="316707"/>
          </a:xfrm>
        </p:grpSpPr>
        <p:grpSp>
          <p:nvGrpSpPr>
            <p:cNvPr id="23" name="Gruppo 22"/>
            <p:cNvGrpSpPr/>
            <p:nvPr/>
          </p:nvGrpSpPr>
          <p:grpSpPr>
            <a:xfrm>
              <a:off x="11582401" y="173832"/>
              <a:ext cx="197643" cy="147638"/>
              <a:chOff x="11582401" y="173832"/>
              <a:chExt cx="197643" cy="147638"/>
            </a:xfrm>
          </p:grpSpPr>
          <p:cxnSp>
            <p:nvCxnSpPr>
              <p:cNvPr id="25" name="Connettore 1 24"/>
              <p:cNvCxnSpPr/>
              <p:nvPr/>
            </p:nvCxnSpPr>
            <p:spPr>
              <a:xfrm>
                <a:off x="11582401" y="173832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Connettore 1 25"/>
              <p:cNvCxnSpPr/>
              <p:nvPr/>
            </p:nvCxnSpPr>
            <p:spPr>
              <a:xfrm>
                <a:off x="11582401" y="245270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Connettore 1 26"/>
              <p:cNvCxnSpPr/>
              <p:nvPr/>
            </p:nvCxnSpPr>
            <p:spPr>
              <a:xfrm>
                <a:off x="11582401" y="321470"/>
                <a:ext cx="197643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" name="Rettangolo 23">
              <a:hlinkClick r:id="rId4" action="ppaction://hlinksldjump"/>
            </p:cNvPr>
            <p:cNvSpPr/>
            <p:nvPr/>
          </p:nvSpPr>
          <p:spPr>
            <a:xfrm>
              <a:off x="11510963" y="88106"/>
              <a:ext cx="340519" cy="3167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it-IT" sz="1632" err="1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4" name="Titolo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>
                <a:solidFill>
                  <a:schemeClr val="tx2"/>
                </a:solidFill>
              </a:rPr>
              <a:t>I numeri</a:t>
            </a:r>
          </a:p>
        </p:txBody>
      </p:sp>
      <p:sp>
        <p:nvSpPr>
          <p:cNvPr id="33" name="Rettangolo 32"/>
          <p:cNvSpPr/>
          <p:nvPr/>
        </p:nvSpPr>
        <p:spPr>
          <a:xfrm>
            <a:off x="2767773" y="1294266"/>
            <a:ext cx="1736920" cy="1279469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/>
              </a:rPr>
              <a:t>+440 </a:t>
            </a:r>
            <a:endParaRPr lang="it-IT" sz="3673" b="1">
              <a:solidFill>
                <a:srgbClr val="406B9B"/>
              </a:solidFill>
              <a:latin typeface="Century Gothic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PROGETTI VALIDATI PER PLAFOND CE </a:t>
            </a:r>
            <a:endParaRPr lang="it-IT" sz="1428" b="1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57" name="Rettangolo 56"/>
          <p:cNvSpPr/>
          <p:nvPr/>
        </p:nvSpPr>
        <p:spPr>
          <a:xfrm>
            <a:off x="5448199" y="1268733"/>
            <a:ext cx="2562596" cy="1055265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/>
              </a:rPr>
              <a:t>+5.600 </a:t>
            </a:r>
            <a:r>
              <a:rPr lang="it-IT" sz="2041" b="1">
                <a:solidFill>
                  <a:srgbClr val="406B9B"/>
                </a:solidFill>
                <a:latin typeface="Century Gothic"/>
              </a:rPr>
              <a:t>mln/€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FINANZIAMENTI VALIDATI SU PLAFOND CE</a:t>
            </a:r>
            <a:endParaRPr lang="it-IT" sz="1428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59" name="Rettangolo 58"/>
          <p:cNvSpPr/>
          <p:nvPr/>
        </p:nvSpPr>
        <p:spPr>
          <a:xfrm>
            <a:off x="6546433" y="1294266"/>
            <a:ext cx="2259011" cy="606859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3265" b="1">
              <a:solidFill>
                <a:srgbClr val="406B9B"/>
              </a:solidFill>
              <a:latin typeface="Century Gothic" panose="020B0502020202020204" pitchFamily="34" charset="0"/>
            </a:endParaRPr>
          </a:p>
        </p:txBody>
      </p:sp>
      <p:sp>
        <p:nvSpPr>
          <p:cNvPr id="61" name="Rettangolo 60"/>
          <p:cNvSpPr/>
          <p:nvPr/>
        </p:nvSpPr>
        <p:spPr>
          <a:xfrm>
            <a:off x="544067" y="1560059"/>
            <a:ext cx="1822306" cy="735088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041" b="1">
                <a:solidFill>
                  <a:srgbClr val="003A79"/>
                </a:solidFill>
                <a:latin typeface="Century Gothic" panose="020B0502020202020204" pitchFamily="34" charset="0"/>
              </a:rPr>
              <a:t>CIRCULAR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041" b="1">
                <a:solidFill>
                  <a:srgbClr val="003A79"/>
                </a:solidFill>
                <a:latin typeface="Century Gothic" panose="020B0502020202020204" pitchFamily="34" charset="0"/>
              </a:rPr>
              <a:t>ECONOMY</a:t>
            </a:r>
            <a:endParaRPr lang="it-IT" sz="1071" b="1">
              <a:solidFill>
                <a:srgbClr val="003A79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70" name="Connettore 1 69"/>
          <p:cNvCxnSpPr/>
          <p:nvPr/>
        </p:nvCxnSpPr>
        <p:spPr>
          <a:xfrm>
            <a:off x="544066" y="2766628"/>
            <a:ext cx="8261377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ttore 1 70"/>
          <p:cNvCxnSpPr/>
          <p:nvPr/>
        </p:nvCxnSpPr>
        <p:spPr>
          <a:xfrm>
            <a:off x="544066" y="4517218"/>
            <a:ext cx="8261377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ttangolo 33"/>
          <p:cNvSpPr/>
          <p:nvPr/>
        </p:nvSpPr>
        <p:spPr>
          <a:xfrm>
            <a:off x="2373721" y="3155004"/>
            <a:ext cx="1878053" cy="831062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/>
              </a:rPr>
              <a:t>36</a:t>
            </a:r>
            <a:r>
              <a:rPr lang="it-IT" sz="2041" b="1" baseline="90000">
                <a:solidFill>
                  <a:srgbClr val="406B9B"/>
                </a:solidFill>
                <a:latin typeface="Century Gothic"/>
                <a:sym typeface="Century Gothic" panose="020B0502020202020204" pitchFamily="34" charset="0"/>
              </a:rPr>
              <a:t>*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EVENTI DI RILIEVO</a:t>
            </a:r>
            <a:endParaRPr lang="it-IT" sz="1428" b="1">
              <a:solidFill>
                <a:srgbClr val="000000"/>
              </a:solidFill>
              <a:latin typeface="Century Gothic"/>
            </a:endParaRPr>
          </a:p>
        </p:txBody>
      </p:sp>
      <p:sp>
        <p:nvSpPr>
          <p:cNvPr id="35" name="Rettangolo 34"/>
          <p:cNvSpPr/>
          <p:nvPr/>
        </p:nvSpPr>
        <p:spPr>
          <a:xfrm>
            <a:off x="544067" y="3234938"/>
            <a:ext cx="1822306" cy="735088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041" b="1">
                <a:solidFill>
                  <a:srgbClr val="003A79"/>
                </a:solidFill>
                <a:latin typeface="Century Gothic" panose="020B0502020202020204" pitchFamily="34" charset="0"/>
              </a:rPr>
              <a:t>IDENTITY &amp; CULTURE</a:t>
            </a:r>
          </a:p>
        </p:txBody>
      </p:sp>
      <p:sp>
        <p:nvSpPr>
          <p:cNvPr id="36" name="Rettangolo 35"/>
          <p:cNvSpPr/>
          <p:nvPr/>
        </p:nvSpPr>
        <p:spPr>
          <a:xfrm>
            <a:off x="4601148" y="3155004"/>
            <a:ext cx="1736920" cy="1055265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/>
              </a:rPr>
              <a:t>24</a:t>
            </a:r>
            <a:r>
              <a:rPr lang="it-IT" sz="2041" b="1" baseline="90000">
                <a:solidFill>
                  <a:srgbClr val="406B9B"/>
                </a:solidFill>
                <a:latin typeface="Century Gothic"/>
              </a:rPr>
              <a:t>*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SEMINARI / WORKSHOP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FEA5667E-A9D1-446A-951D-937CFCF40B77}"/>
              </a:ext>
            </a:extLst>
          </p:cNvPr>
          <p:cNvSpPr txBox="1"/>
          <p:nvPr/>
        </p:nvSpPr>
        <p:spPr>
          <a:xfrm>
            <a:off x="7042801" y="3181851"/>
            <a:ext cx="1565077" cy="81639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97" tIns="46649" rIns="93297" bIns="46649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/>
                <a:cs typeface="Arial"/>
              </a:rPr>
              <a:t>+3.800</a:t>
            </a:r>
            <a:r>
              <a:rPr lang="it-IT" sz="2041" b="1" baseline="90000">
                <a:solidFill>
                  <a:srgbClr val="406B9B"/>
                </a:solidFill>
                <a:latin typeface="Century Gothic"/>
              </a:rPr>
              <a:t>*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PARTECIPANTI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F08281FB-78A3-498C-A6C7-2BEE4CFDB72F}"/>
              </a:ext>
            </a:extLst>
          </p:cNvPr>
          <p:cNvSpPr txBox="1"/>
          <p:nvPr/>
        </p:nvSpPr>
        <p:spPr>
          <a:xfrm>
            <a:off x="544067" y="6444147"/>
            <a:ext cx="826278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812841" indent="-812841" defTabSz="895350">
              <a:tabLst>
                <a:tab pos="630238" algn="l"/>
              </a:tabLst>
              <a:defRPr sz="1000">
                <a:solidFill>
                  <a:schemeClr val="accent6"/>
                </a:solidFill>
                <a:latin typeface="Century Gothic" panose="020B0502020202020204" pitchFamily="34" charset="0"/>
                <a:ea typeface="Open Sans"/>
                <a:cs typeface="Open Sans"/>
              </a:defRPr>
            </a:lvl1pPr>
            <a:lvl2pPr marL="803275" indent="-307975" defTabSz="4937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latin typeface="+mn-lt"/>
                <a:ea typeface="MS PGothic" pitchFamily="34" charset="-128"/>
                <a:cs typeface="MS PGothic" charset="0"/>
              </a:defRPr>
            </a:lvl2pPr>
            <a:lvl3pPr marL="12366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latin typeface="+mn-lt"/>
                <a:ea typeface="MS PGothic" pitchFamily="34" charset="-128"/>
                <a:cs typeface="MS PGothic" charset="0"/>
              </a:defRPr>
            </a:lvl3pPr>
            <a:lvl4pPr marL="17319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latin typeface="+mn-lt"/>
                <a:ea typeface="MS PGothic" pitchFamily="34" charset="-128"/>
                <a:cs typeface="MS PGothic" charset="0"/>
              </a:defRPr>
            </a:lvl4pPr>
            <a:lvl5pPr marL="22272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latin typeface="+mn-lt"/>
                <a:ea typeface="MS PGothic" pitchFamily="34" charset="-128"/>
                <a:cs typeface="MS PGothic" charset="0"/>
              </a:defRPr>
            </a:lvl5pPr>
            <a:lvl6pPr marL="2724066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6pPr>
            <a:lvl7pPr marL="3219351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7pPr>
            <a:lvl8pPr marL="3714636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8pPr>
            <a:lvl9pPr marL="4209920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9pPr>
          </a:lstStyle>
          <a:p>
            <a:pPr marL="829342" indent="-829342" defTabSz="913526" fontAlgn="base">
              <a:spcBef>
                <a:spcPct val="0"/>
              </a:spcBef>
              <a:spcAft>
                <a:spcPct val="0"/>
              </a:spcAft>
              <a:tabLst>
                <a:tab pos="643032" algn="l"/>
              </a:tabLst>
            </a:pPr>
            <a:r>
              <a:rPr lang="it-IT" sz="1020">
                <a:solidFill>
                  <a:srgbClr val="808080"/>
                </a:solidFill>
              </a:rPr>
              <a:t>Dati dal 2018 al 31/03/2021 </a:t>
            </a:r>
          </a:p>
        </p:txBody>
      </p:sp>
      <p:sp>
        <p:nvSpPr>
          <p:cNvPr id="39" name="CasellaDiTesto 1">
            <a:extLst>
              <a:ext uri="{FF2B5EF4-FFF2-40B4-BE49-F238E27FC236}">
                <a16:creationId xmlns:a16="http://schemas.microsoft.com/office/drawing/2014/main" id="{28234312-89FE-4D83-A5CB-256697498FB0}"/>
              </a:ext>
            </a:extLst>
          </p:cNvPr>
          <p:cNvSpPr txBox="1"/>
          <p:nvPr/>
        </p:nvSpPr>
        <p:spPr>
          <a:xfrm>
            <a:off x="544067" y="4274201"/>
            <a:ext cx="4052461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812841" indent="-812841" defTabSz="895350">
              <a:tabLst>
                <a:tab pos="630238" algn="l"/>
              </a:tabLst>
              <a:defRPr sz="1000">
                <a:solidFill>
                  <a:schemeClr val="accent6"/>
                </a:solidFill>
                <a:latin typeface="Century Gothic" panose="020B0502020202020204" pitchFamily="34" charset="0"/>
                <a:ea typeface="Open Sans"/>
                <a:cs typeface="Open Sans"/>
              </a:defRPr>
            </a:lvl1pPr>
            <a:lvl2pPr marL="803275" indent="-307975" defTabSz="4937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latin typeface="+mn-lt"/>
                <a:ea typeface="MS PGothic" pitchFamily="34" charset="-128"/>
                <a:cs typeface="MS PGothic" charset="0"/>
              </a:defRPr>
            </a:lvl2pPr>
            <a:lvl3pPr marL="12366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latin typeface="+mn-lt"/>
                <a:ea typeface="MS PGothic" pitchFamily="34" charset="-128"/>
                <a:cs typeface="MS PGothic" charset="0"/>
              </a:defRPr>
            </a:lvl3pPr>
            <a:lvl4pPr marL="17319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latin typeface="+mn-lt"/>
                <a:ea typeface="MS PGothic" pitchFamily="34" charset="-128"/>
                <a:cs typeface="MS PGothic" charset="0"/>
              </a:defRPr>
            </a:lvl4pPr>
            <a:lvl5pPr marL="22272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latin typeface="+mn-lt"/>
                <a:ea typeface="MS PGothic" pitchFamily="34" charset="-128"/>
                <a:cs typeface="MS PGothic" charset="0"/>
              </a:defRPr>
            </a:lvl5pPr>
            <a:lvl6pPr marL="2724066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6pPr>
            <a:lvl7pPr marL="3219351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7pPr>
            <a:lvl8pPr marL="3714636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8pPr>
            <a:lvl9pPr marL="4209920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9pPr>
          </a:lstStyle>
          <a:p>
            <a:pPr marL="829342" indent="-829342" defTabSz="913526" fontAlgn="base">
              <a:spcBef>
                <a:spcPct val="0"/>
              </a:spcBef>
              <a:spcAft>
                <a:spcPct val="0"/>
              </a:spcAft>
              <a:tabLst>
                <a:tab pos="643032" algn="l"/>
              </a:tabLst>
            </a:pPr>
            <a:r>
              <a:rPr lang="it-IT" sz="1020">
                <a:solidFill>
                  <a:srgbClr val="808080"/>
                </a:solidFill>
                <a:sym typeface="Century Gothic" panose="020B0502020202020204" pitchFamily="34" charset="0"/>
              </a:rPr>
              <a:t>*Dati riferiti al 2020</a:t>
            </a:r>
          </a:p>
        </p:txBody>
      </p:sp>
      <p:sp>
        <p:nvSpPr>
          <p:cNvPr id="31" name="Rettangolo 30">
            <a:extLst>
              <a:ext uri="{FF2B5EF4-FFF2-40B4-BE49-F238E27FC236}">
                <a16:creationId xmlns:a16="http://schemas.microsoft.com/office/drawing/2014/main" id="{F6D37711-C51D-BD4A-A656-B636A190BF76}"/>
              </a:ext>
            </a:extLst>
          </p:cNvPr>
          <p:cNvSpPr/>
          <p:nvPr/>
        </p:nvSpPr>
        <p:spPr>
          <a:xfrm>
            <a:off x="2767774" y="4810734"/>
            <a:ext cx="1106868" cy="831062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/>
              </a:rPr>
              <a:t>69</a:t>
            </a:r>
            <a:endParaRPr lang="it-IT" sz="3265" b="1">
              <a:solidFill>
                <a:srgbClr val="406B9B"/>
              </a:solidFill>
              <a:latin typeface="Century Gothic"/>
              <a:cs typeface="Arial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PERSONE</a:t>
            </a:r>
            <a:endParaRPr lang="it-IT" sz="1632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2" name="Rettangolo 31">
            <a:extLst>
              <a:ext uri="{FF2B5EF4-FFF2-40B4-BE49-F238E27FC236}">
                <a16:creationId xmlns:a16="http://schemas.microsoft.com/office/drawing/2014/main" id="{2B978617-BE27-F143-B889-11C485FFC261}"/>
              </a:ext>
            </a:extLst>
          </p:cNvPr>
          <p:cNvSpPr/>
          <p:nvPr/>
        </p:nvSpPr>
        <p:spPr>
          <a:xfrm>
            <a:off x="4543525" y="4810734"/>
            <a:ext cx="1852166" cy="831062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/>
              </a:rPr>
              <a:t>42%</a:t>
            </a:r>
            <a:endParaRPr lang="it-IT" sz="3265">
              <a:solidFill>
                <a:srgbClr val="406B9B"/>
              </a:solidFill>
              <a:latin typeface="Arial"/>
              <a:cs typeface="Arial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DONNE</a:t>
            </a:r>
            <a:endParaRPr lang="it-IT" sz="1428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38" name="Rettangolo 37">
            <a:extLst>
              <a:ext uri="{FF2B5EF4-FFF2-40B4-BE49-F238E27FC236}">
                <a16:creationId xmlns:a16="http://schemas.microsoft.com/office/drawing/2014/main" id="{8F7A089F-1C6D-384B-BAB1-A64EFAFCBC2E}"/>
              </a:ext>
            </a:extLst>
          </p:cNvPr>
          <p:cNvSpPr/>
          <p:nvPr/>
        </p:nvSpPr>
        <p:spPr>
          <a:xfrm>
            <a:off x="6844287" y="4810734"/>
            <a:ext cx="1763591" cy="816394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3265" b="1">
                <a:solidFill>
                  <a:srgbClr val="406B9B"/>
                </a:solidFill>
                <a:latin typeface="Century Gothic"/>
              </a:rPr>
              <a:t>42</a:t>
            </a:r>
            <a:endParaRPr lang="it-IT" sz="3265" b="1">
              <a:solidFill>
                <a:srgbClr val="406B9B"/>
              </a:solidFill>
              <a:latin typeface="Century Gothic"/>
              <a:cs typeface="Arial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28">
                <a:solidFill>
                  <a:srgbClr val="000000"/>
                </a:solidFill>
                <a:latin typeface="Century Gothic"/>
              </a:rPr>
              <a:t>ANNI (ETÀ MEDIA)</a:t>
            </a:r>
            <a:endParaRPr lang="it-IT" sz="1632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CasellaDiTesto 1">
            <a:extLst>
              <a:ext uri="{FF2B5EF4-FFF2-40B4-BE49-F238E27FC236}">
                <a16:creationId xmlns:a16="http://schemas.microsoft.com/office/drawing/2014/main" id="{BA075911-9C6C-CA41-8F69-40109408E79F}"/>
              </a:ext>
            </a:extLst>
          </p:cNvPr>
          <p:cNvSpPr txBox="1"/>
          <p:nvPr/>
        </p:nvSpPr>
        <p:spPr>
          <a:xfrm>
            <a:off x="544066" y="5940881"/>
            <a:ext cx="4052461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812841" indent="-812841" defTabSz="895350">
              <a:tabLst>
                <a:tab pos="630238" algn="l"/>
              </a:tabLst>
              <a:defRPr sz="1000">
                <a:solidFill>
                  <a:schemeClr val="accent6"/>
                </a:solidFill>
                <a:latin typeface="Century Gothic" panose="020B0502020202020204" pitchFamily="34" charset="0"/>
                <a:ea typeface="Open Sans"/>
                <a:cs typeface="Open Sans"/>
              </a:defRPr>
            </a:lvl1pPr>
            <a:lvl2pPr marL="803275" indent="-307975" defTabSz="4937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latin typeface="+mn-lt"/>
                <a:ea typeface="MS PGothic" pitchFamily="34" charset="-128"/>
                <a:cs typeface="MS PGothic" charset="0"/>
              </a:defRPr>
            </a:lvl2pPr>
            <a:lvl3pPr marL="12366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latin typeface="+mn-lt"/>
                <a:ea typeface="MS PGothic" pitchFamily="34" charset="-128"/>
                <a:cs typeface="MS PGothic" charset="0"/>
              </a:defRPr>
            </a:lvl3pPr>
            <a:lvl4pPr marL="17319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latin typeface="+mn-lt"/>
                <a:ea typeface="MS PGothic" pitchFamily="34" charset="-128"/>
                <a:cs typeface="MS PGothic" charset="0"/>
              </a:defRPr>
            </a:lvl4pPr>
            <a:lvl5pPr marL="22272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latin typeface="+mn-lt"/>
                <a:ea typeface="MS PGothic" pitchFamily="34" charset="-128"/>
                <a:cs typeface="MS PGothic" charset="0"/>
              </a:defRPr>
            </a:lvl5pPr>
            <a:lvl6pPr marL="2724066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6pPr>
            <a:lvl7pPr marL="3219351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7pPr>
            <a:lvl8pPr marL="3714636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8pPr>
            <a:lvl9pPr marL="4209920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9pPr>
          </a:lstStyle>
          <a:p>
            <a:pPr marL="829300" indent="-829300" defTabSz="913526" fontAlgn="base">
              <a:spcBef>
                <a:spcPct val="0"/>
              </a:spcBef>
              <a:spcAft>
                <a:spcPct val="0"/>
              </a:spcAft>
              <a:tabLst>
                <a:tab pos="643032" algn="l"/>
              </a:tabLst>
            </a:pPr>
            <a:r>
              <a:rPr lang="it-IT" sz="1020">
                <a:solidFill>
                  <a:srgbClr val="808080"/>
                </a:solidFill>
                <a:latin typeface="Century Gothic"/>
                <a:sym typeface="Century Gothic" panose="020B0502020202020204" pitchFamily="34" charset="0"/>
              </a:rPr>
              <a:t>*Dati al 31/03/2021</a:t>
            </a:r>
            <a:endParaRPr lang="it-IT" sz="1020">
              <a:solidFill>
                <a:srgbClr val="808080"/>
              </a:solidFill>
              <a:latin typeface="Century Gothic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DD796A95-49C6-4A89-AD25-5AF784A38F74}"/>
              </a:ext>
            </a:extLst>
          </p:cNvPr>
          <p:cNvSpPr/>
          <p:nvPr/>
        </p:nvSpPr>
        <p:spPr>
          <a:xfrm>
            <a:off x="551415" y="4955063"/>
            <a:ext cx="1822306" cy="414648"/>
          </a:xfrm>
          <a:prstGeom prst="rect">
            <a:avLst/>
          </a:prstGeom>
        </p:spPr>
        <p:txBody>
          <a:bodyPr wrap="square" lIns="0" tIns="46649" rIns="93297" bIns="46649" anchor="t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041" b="1">
                <a:solidFill>
                  <a:srgbClr val="003A79"/>
                </a:solidFill>
                <a:latin typeface="Century Gothic"/>
              </a:rPr>
              <a:t>LA SOCIETA'</a:t>
            </a:r>
            <a:endParaRPr lang="it-IT" sz="2041" b="1">
              <a:solidFill>
                <a:srgbClr val="003A79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971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57" grpId="0"/>
      <p:bldP spid="61" grpId="0"/>
      <p:bldP spid="34" grpId="0"/>
      <p:bldP spid="35" grpId="0"/>
      <p:bldP spid="36" grpId="0"/>
      <p:bldP spid="2" grpId="0"/>
      <p:bldP spid="8" grpId="0"/>
      <p:bldP spid="39" grpId="0"/>
      <p:bldP spid="31" grpId="0"/>
      <p:bldP spid="32" grpId="0"/>
      <p:bldP spid="38" grpId="0"/>
      <p:bldP spid="40" grpId="0"/>
      <p:bldP spid="2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241954BD-B8A9-E249-A5FD-494B54EDD101}"/>
              </a:ext>
            </a:extLst>
          </p:cNvPr>
          <p:cNvSpPr/>
          <p:nvPr/>
        </p:nvSpPr>
        <p:spPr>
          <a:xfrm rot="20686196">
            <a:off x="-2027" y="-808504"/>
            <a:ext cx="6150944" cy="1644626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  <a:gd name="connsiteX0" fmla="*/ 213007 w 9233018"/>
              <a:gd name="connsiteY0" fmla="*/ 0 h 1758889"/>
              <a:gd name="connsiteX1" fmla="*/ 9233018 w 9233018"/>
              <a:gd name="connsiteY1" fmla="*/ 1751652 h 1758889"/>
              <a:gd name="connsiteX2" fmla="*/ 9169601 w 9233018"/>
              <a:gd name="connsiteY2" fmla="*/ 1758889 h 1758889"/>
              <a:gd name="connsiteX3" fmla="*/ -1 w 9233018"/>
              <a:gd name="connsiteY3" fmla="*/ 1720658 h 1758889"/>
              <a:gd name="connsiteX4" fmla="*/ 213007 w 9233018"/>
              <a:gd name="connsiteY4" fmla="*/ 0 h 1758889"/>
              <a:gd name="connsiteX0" fmla="*/ 213007 w 9233018"/>
              <a:gd name="connsiteY0" fmla="*/ 0 h 1798514"/>
              <a:gd name="connsiteX1" fmla="*/ 9233018 w 9233018"/>
              <a:gd name="connsiteY1" fmla="*/ 1751652 h 1798514"/>
              <a:gd name="connsiteX2" fmla="*/ 9218312 w 9233018"/>
              <a:gd name="connsiteY2" fmla="*/ 1798514 h 1798514"/>
              <a:gd name="connsiteX3" fmla="*/ -1 w 9233018"/>
              <a:gd name="connsiteY3" fmla="*/ 1720658 h 1798514"/>
              <a:gd name="connsiteX4" fmla="*/ 213007 w 9233018"/>
              <a:gd name="connsiteY4" fmla="*/ 0 h 1798514"/>
              <a:gd name="connsiteX0" fmla="*/ 213007 w 9232004"/>
              <a:gd name="connsiteY0" fmla="*/ 0 h 1801249"/>
              <a:gd name="connsiteX1" fmla="*/ 9232005 w 9232004"/>
              <a:gd name="connsiteY1" fmla="*/ 1801249 h 1801249"/>
              <a:gd name="connsiteX2" fmla="*/ 9218312 w 9232004"/>
              <a:gd name="connsiteY2" fmla="*/ 1798514 h 1801249"/>
              <a:gd name="connsiteX3" fmla="*/ -1 w 9232004"/>
              <a:gd name="connsiteY3" fmla="*/ 1720658 h 1801249"/>
              <a:gd name="connsiteX4" fmla="*/ 213007 w 9232004"/>
              <a:gd name="connsiteY4" fmla="*/ 0 h 1801249"/>
              <a:gd name="connsiteX0" fmla="*/ 213009 w 9805231"/>
              <a:gd name="connsiteY0" fmla="*/ 0 h 1920782"/>
              <a:gd name="connsiteX1" fmla="*/ 9232007 w 9805231"/>
              <a:gd name="connsiteY1" fmla="*/ 1801249 h 1920782"/>
              <a:gd name="connsiteX2" fmla="*/ 9805231 w 9805231"/>
              <a:gd name="connsiteY2" fmla="*/ 1920782 h 1920782"/>
              <a:gd name="connsiteX3" fmla="*/ 1 w 9805231"/>
              <a:gd name="connsiteY3" fmla="*/ 1720658 h 1920782"/>
              <a:gd name="connsiteX4" fmla="*/ 213009 w 9805231"/>
              <a:gd name="connsiteY4" fmla="*/ 0 h 1920782"/>
              <a:gd name="connsiteX0" fmla="*/ 183037 w 9775259"/>
              <a:gd name="connsiteY0" fmla="*/ 0 h 1920782"/>
              <a:gd name="connsiteX1" fmla="*/ 9202035 w 9775259"/>
              <a:gd name="connsiteY1" fmla="*/ 1801249 h 1920782"/>
              <a:gd name="connsiteX2" fmla="*/ 9775259 w 9775259"/>
              <a:gd name="connsiteY2" fmla="*/ 1920782 h 1920782"/>
              <a:gd name="connsiteX3" fmla="*/ 0 w 9775259"/>
              <a:gd name="connsiteY3" fmla="*/ 1500030 h 1920782"/>
              <a:gd name="connsiteX4" fmla="*/ 183037 w 9775259"/>
              <a:gd name="connsiteY4" fmla="*/ 0 h 1920782"/>
              <a:gd name="connsiteX0" fmla="*/ 126790 w 9719012"/>
              <a:gd name="connsiteY0" fmla="*/ 0 h 1920782"/>
              <a:gd name="connsiteX1" fmla="*/ 9145788 w 9719012"/>
              <a:gd name="connsiteY1" fmla="*/ 1801249 h 1920782"/>
              <a:gd name="connsiteX2" fmla="*/ 9719012 w 9719012"/>
              <a:gd name="connsiteY2" fmla="*/ 1920782 h 1920782"/>
              <a:gd name="connsiteX3" fmla="*/ 0 w 9719012"/>
              <a:gd name="connsiteY3" fmla="*/ 1384324 h 1920782"/>
              <a:gd name="connsiteX4" fmla="*/ 126790 w 9719012"/>
              <a:gd name="connsiteY4" fmla="*/ 0 h 1920782"/>
              <a:gd name="connsiteX0" fmla="*/ 114801 w 9719012"/>
              <a:gd name="connsiteY0" fmla="*/ 0 h 1918151"/>
              <a:gd name="connsiteX1" fmla="*/ 9145788 w 9719012"/>
              <a:gd name="connsiteY1" fmla="*/ 1798618 h 1918151"/>
              <a:gd name="connsiteX2" fmla="*/ 9719012 w 9719012"/>
              <a:gd name="connsiteY2" fmla="*/ 1918151 h 1918151"/>
              <a:gd name="connsiteX3" fmla="*/ 0 w 9719012"/>
              <a:gd name="connsiteY3" fmla="*/ 1381693 h 1918151"/>
              <a:gd name="connsiteX4" fmla="*/ 114801 w 9719012"/>
              <a:gd name="connsiteY4" fmla="*/ 0 h 1918151"/>
              <a:gd name="connsiteX0" fmla="*/ 114800 w 9719012"/>
              <a:gd name="connsiteY0" fmla="*/ 0 h 1918151"/>
              <a:gd name="connsiteX1" fmla="*/ 9145788 w 9719012"/>
              <a:gd name="connsiteY1" fmla="*/ 1798618 h 1918151"/>
              <a:gd name="connsiteX2" fmla="*/ 9719012 w 9719012"/>
              <a:gd name="connsiteY2" fmla="*/ 1918151 h 1918151"/>
              <a:gd name="connsiteX3" fmla="*/ 0 w 9719012"/>
              <a:gd name="connsiteY3" fmla="*/ 1381693 h 1918151"/>
              <a:gd name="connsiteX4" fmla="*/ 114800 w 9719012"/>
              <a:gd name="connsiteY4" fmla="*/ 0 h 1918151"/>
              <a:gd name="connsiteX0" fmla="*/ 193030 w 9719012"/>
              <a:gd name="connsiteY0" fmla="*/ 0 h 1902527"/>
              <a:gd name="connsiteX1" fmla="*/ 9145788 w 9719012"/>
              <a:gd name="connsiteY1" fmla="*/ 1782994 h 1902527"/>
              <a:gd name="connsiteX2" fmla="*/ 9719012 w 9719012"/>
              <a:gd name="connsiteY2" fmla="*/ 1902527 h 1902527"/>
              <a:gd name="connsiteX3" fmla="*/ 0 w 9719012"/>
              <a:gd name="connsiteY3" fmla="*/ 1366069 h 1902527"/>
              <a:gd name="connsiteX4" fmla="*/ 193030 w 9719012"/>
              <a:gd name="connsiteY4" fmla="*/ 0 h 1902527"/>
              <a:gd name="connsiteX0" fmla="*/ 193030 w 10621430"/>
              <a:gd name="connsiteY0" fmla="*/ 0 h 2082758"/>
              <a:gd name="connsiteX1" fmla="*/ 9145788 w 10621430"/>
              <a:gd name="connsiteY1" fmla="*/ 1782994 h 2082758"/>
              <a:gd name="connsiteX2" fmla="*/ 10621430 w 10621430"/>
              <a:gd name="connsiteY2" fmla="*/ 2082759 h 2082758"/>
              <a:gd name="connsiteX3" fmla="*/ 0 w 10621430"/>
              <a:gd name="connsiteY3" fmla="*/ 1366069 h 2082758"/>
              <a:gd name="connsiteX4" fmla="*/ 193030 w 10621430"/>
              <a:gd name="connsiteY4" fmla="*/ 0 h 2082758"/>
              <a:gd name="connsiteX0" fmla="*/ 193030 w 10621432"/>
              <a:gd name="connsiteY0" fmla="*/ 0 h 2082759"/>
              <a:gd name="connsiteX1" fmla="*/ 10621431 w 10621432"/>
              <a:gd name="connsiteY1" fmla="*/ 2082758 h 2082759"/>
              <a:gd name="connsiteX2" fmla="*/ 10621430 w 10621432"/>
              <a:gd name="connsiteY2" fmla="*/ 2082759 h 2082759"/>
              <a:gd name="connsiteX3" fmla="*/ 0 w 10621432"/>
              <a:gd name="connsiteY3" fmla="*/ 1366069 h 2082759"/>
              <a:gd name="connsiteX4" fmla="*/ 193030 w 10621432"/>
              <a:gd name="connsiteY4" fmla="*/ 0 h 2082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21432" h="2082759">
                <a:moveTo>
                  <a:pt x="193030" y="0"/>
                </a:moveTo>
                <a:lnTo>
                  <a:pt x="10621431" y="2082758"/>
                </a:lnTo>
                <a:lnTo>
                  <a:pt x="10621430" y="2082759"/>
                </a:lnTo>
                <a:lnTo>
                  <a:pt x="0" y="1366069"/>
                </a:lnTo>
                <a:lnTo>
                  <a:pt x="193030" y="0"/>
                </a:lnTo>
                <a:close/>
              </a:path>
            </a:pathLst>
          </a:custGeom>
          <a:solidFill>
            <a:srgbClr val="003A79">
              <a:alpha val="74902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09598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2133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6149" name="Immagine 4" descr="INTESA_SANPAOLO white.png">
            <a:extLst>
              <a:ext uri="{FF2B5EF4-FFF2-40B4-BE49-F238E27FC236}">
                <a16:creationId xmlns:a16="http://schemas.microsoft.com/office/drawing/2014/main" id="{8F86A766-5C82-0A41-AE33-9BB80719C5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59" y="2465932"/>
            <a:ext cx="4273488" cy="624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tangolo 6">
            <a:extLst>
              <a:ext uri="{FF2B5EF4-FFF2-40B4-BE49-F238E27FC236}">
                <a16:creationId xmlns:a16="http://schemas.microsoft.com/office/drawing/2014/main" id="{7483DA12-5609-0C49-BFCB-992148773AE2}"/>
              </a:ext>
            </a:extLst>
          </p:cNvPr>
          <p:cNvSpPr/>
          <p:nvPr/>
        </p:nvSpPr>
        <p:spPr>
          <a:xfrm>
            <a:off x="2159059" y="4816526"/>
            <a:ext cx="8233638" cy="109671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816">
                <a:solidFill>
                  <a:prstClr val="black"/>
                </a:solidFill>
                <a:latin typeface="Century Gothic" panose="020B0502020202020204" pitchFamily="34" charset="0"/>
              </a:rPr>
              <a:t>I contenuti di questo documento sono di proprietà di Intesa Sanpaolo e sono protetti dalle norme sul diritto d'autore e sui segni distintivi. Tutti i diritti sono riservati. 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816">
                <a:solidFill>
                  <a:prstClr val="black"/>
                </a:solidFill>
                <a:latin typeface="Century Gothic" panose="020B0502020202020204" pitchFamily="34" charset="0"/>
              </a:rPr>
              <a:t>Pertanto, senza il preventivo consenso formale di Intesa Sanpaolo, il suddetto materiale non può essere copiato, scaricato, riprodotto, utilizzato su altri siti Internet, modificato, trasferito, distribuito o comunicato a terzi se non per uso esclusivamente personale, restando in ogni caso vietato ogni utilizzo commerciale.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816">
                <a:solidFill>
                  <a:prstClr val="black"/>
                </a:solidFill>
                <a:latin typeface="Century Gothic" panose="020B0502020202020204" pitchFamily="34" charset="0"/>
              </a:rPr>
              <a:t>I contenuti non di proprietà di Intesa Sanpaolo ma di soggetti terzi di volta in volta indicati, possono essere utilizzati solo rispettando i diritti di tali soggetti terzi e le regole dagli stessi fissate, cui pertanto si rinvia.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816">
                <a:solidFill>
                  <a:prstClr val="black"/>
                </a:solidFill>
                <a:latin typeface="Century Gothic" panose="020B0502020202020204" pitchFamily="34" charset="0"/>
              </a:rPr>
              <a:t>Pur ponendo cura nella redazione dei contenuti, Intesa Sanpaolo non assume alcuna responsabilità per eventuali errori od omissioni di qualsiasi tipo e per qualunque tipo di danno diretto, indiretto o accidentale derivante dalla lettura o dall'impiego delle informazioni pubblicate o di qualsiasi forma di contenuto presente nel documento o per l'accesso o l'uso del materiale contenuto in altri siti collegati.</a:t>
            </a:r>
          </a:p>
        </p:txBody>
      </p:sp>
    </p:spTree>
    <p:extLst>
      <p:ext uri="{BB962C8B-B14F-4D97-AF65-F5344CB8AC3E}">
        <p14:creationId xmlns:p14="http://schemas.microsoft.com/office/powerpoint/2010/main" val="190155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zRxgKrQJmXLXQXo8UA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Personalizza struttur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NTESA SP - 19.IT1 16-9">
  <a:themeElements>
    <a:clrScheme name="Custom 1">
      <a:dk1>
        <a:srgbClr val="000000"/>
      </a:dk1>
      <a:lt1>
        <a:srgbClr val="FFFFFF"/>
      </a:lt1>
      <a:dk2>
        <a:srgbClr val="003A79"/>
      </a:dk2>
      <a:lt2>
        <a:srgbClr val="40915B"/>
      </a:lt2>
      <a:accent1>
        <a:srgbClr val="C0CCE4"/>
      </a:accent1>
      <a:accent2>
        <a:srgbClr val="F1CE40"/>
      </a:accent2>
      <a:accent3>
        <a:srgbClr val="F18B40"/>
      </a:accent3>
      <a:accent4>
        <a:srgbClr val="406B9B"/>
      </a:accent4>
      <a:accent5>
        <a:srgbClr val="DDDDDD"/>
      </a:accent5>
      <a:accent6>
        <a:srgbClr val="808080"/>
      </a:accent6>
      <a:hlink>
        <a:srgbClr val="F18B40"/>
      </a:hlink>
      <a:folHlink>
        <a:srgbClr val="406B9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LOR">
        <a:dk1>
          <a:srgbClr val="000000"/>
        </a:dk1>
        <a:lt1>
          <a:srgbClr val="FFFFFF"/>
        </a:lt1>
        <a:dk2>
          <a:srgbClr val="003A79"/>
        </a:dk2>
        <a:lt2>
          <a:srgbClr val="006C24"/>
        </a:lt2>
        <a:accent1>
          <a:srgbClr val="C0CCE4"/>
        </a:accent1>
        <a:accent2>
          <a:srgbClr val="ECBD00"/>
        </a:accent2>
        <a:accent3>
          <a:srgbClr val="EC6400"/>
        </a:accent3>
        <a:accent4>
          <a:srgbClr val="003A79"/>
        </a:accent4>
        <a:accent5>
          <a:srgbClr val="DDDDDD"/>
        </a:accent5>
        <a:accent6>
          <a:srgbClr val="808080"/>
        </a:accent6>
        <a:hlink>
          <a:srgbClr val="EC6400"/>
        </a:hlink>
        <a:folHlink>
          <a:srgbClr val="003A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NTESA SP - 19.IT1 16-9.potx" id="{711BB676-7FEA-40B0-98B0-27ACB0A5E62A}" vid="{E49B8EAB-BD0A-488B-A795-18CB10065F08}"/>
    </a:ext>
  </a:extLst>
</a:theme>
</file>

<file path=ppt/theme/theme3.xml><?xml version="1.0" encoding="utf-8"?>
<a:theme xmlns:a="http://schemas.openxmlformats.org/drawingml/2006/main" name="cove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D500DA02EC56F488A6A1666E59EF725" ma:contentTypeVersion="1" ma:contentTypeDescription="Creare un nuovo documento." ma:contentTypeScope="" ma:versionID="ccb7b8c3f7b53ff1653f1a5feba9d02a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81119c775ff7546ff9325ac9d9e6a334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Data inizio pianificazione" ma:description="Data inizio pianificazione è una colonna del sito creata dalla funzionalità Pianificazione e usata per specificare la data e l'ora in cui la pagina apparirà per la prima volta ai visitatori del sito." ma:internalName="PublishingStartDate">
      <xsd:simpleType>
        <xsd:restriction base="dms:Unknown"/>
      </xsd:simpleType>
    </xsd:element>
    <xsd:element name="PublishingExpirationDate" ma:index="9" nillable="true" ma:displayName="Data fine pianificazione" ma:description="Data fine pianificazione è una colonna del sito creata dalla funzionalità Pubblicazione e usata per specificare la data e l'ora in cui la pagina non apparirà più ai visitatori del sito.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453E5BE4-DBBC-46B2-89B7-C5D2498A50C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3873FA3-C5CF-42CB-885B-1E71C12FCE0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98C6713-1E7C-4EED-828D-3F7F67CD529C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infopath/2007/PartnerControls"/>
    <ds:schemaRef ds:uri="http://schemas.microsoft.com/sharepoint/v3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1</TotalTime>
  <Words>429</Words>
  <Application>Microsoft Office PowerPoint</Application>
  <PresentationFormat>Widescreen</PresentationFormat>
  <Paragraphs>101</Paragraphs>
  <Slides>9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9</vt:i4>
      </vt:variant>
    </vt:vector>
  </HeadingPairs>
  <TitlesOfParts>
    <vt:vector size="19" baseType="lpstr">
      <vt:lpstr>MS PGothic</vt:lpstr>
      <vt:lpstr>Arial</vt:lpstr>
      <vt:lpstr>Calibri</vt:lpstr>
      <vt:lpstr>Century Gothic</vt:lpstr>
      <vt:lpstr>Open Sans</vt:lpstr>
      <vt:lpstr>Wingdings</vt:lpstr>
      <vt:lpstr>Personalizza struttura</vt:lpstr>
      <vt:lpstr>INTESA SP - 19.IT1 16-9</vt:lpstr>
      <vt:lpstr>cover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Ambiti</vt:lpstr>
      <vt:lpstr>I numeri</vt:lpstr>
      <vt:lpstr>I numeri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Lorenzo Negro</dc:creator>
  <cp:lastModifiedBy>Ronzoni Marianna</cp:lastModifiedBy>
  <cp:revision>11</cp:revision>
  <dcterms:created xsi:type="dcterms:W3CDTF">2021-06-29T12:05:52Z</dcterms:created>
  <dcterms:modified xsi:type="dcterms:W3CDTF">2021-11-15T16:07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500DA02EC56F488A6A1666E59EF725</vt:lpwstr>
  </property>
  <property fmtid="{D5CDD505-2E9C-101B-9397-08002B2CF9AE}" pid="3" name="MSIP_Label_5f5fe31f-9de1-4167-a753-111c0df8115f_Enabled">
    <vt:lpwstr>true</vt:lpwstr>
  </property>
  <property fmtid="{D5CDD505-2E9C-101B-9397-08002B2CF9AE}" pid="4" name="MSIP_Label_5f5fe31f-9de1-4167-a753-111c0df8115f_SetDate">
    <vt:lpwstr>2021-11-15T14:12:04Z</vt:lpwstr>
  </property>
  <property fmtid="{D5CDD505-2E9C-101B-9397-08002B2CF9AE}" pid="5" name="MSIP_Label_5f5fe31f-9de1-4167-a753-111c0df8115f_Method">
    <vt:lpwstr>Standard</vt:lpwstr>
  </property>
  <property fmtid="{D5CDD505-2E9C-101B-9397-08002B2CF9AE}" pid="6" name="MSIP_Label_5f5fe31f-9de1-4167-a753-111c0df8115f_Name">
    <vt:lpwstr>5f5fe31f-9de1-4167-a753-111c0df8115f</vt:lpwstr>
  </property>
  <property fmtid="{D5CDD505-2E9C-101B-9397-08002B2CF9AE}" pid="7" name="MSIP_Label_5f5fe31f-9de1-4167-a753-111c0df8115f_SiteId">
    <vt:lpwstr>cc4baf00-15c9-48dd-9f59-88c98bde2be7</vt:lpwstr>
  </property>
  <property fmtid="{D5CDD505-2E9C-101B-9397-08002B2CF9AE}" pid="8" name="MSIP_Label_5f5fe31f-9de1-4167-a753-111c0df8115f_ActionId">
    <vt:lpwstr>5b729d9a-366e-4f3c-bdae-96fbcab6c465</vt:lpwstr>
  </property>
  <property fmtid="{D5CDD505-2E9C-101B-9397-08002B2CF9AE}" pid="9" name="MSIP_Label_5f5fe31f-9de1-4167-a753-111c0df8115f_ContentBits">
    <vt:lpwstr>0</vt:lpwstr>
  </property>
</Properties>
</file>